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48" r:id="rId5"/>
    <p:sldMasterId id="2147483763" r:id="rId6"/>
  </p:sldMasterIdLst>
  <p:notesMasterIdLst>
    <p:notesMasterId r:id="rId11"/>
  </p:notesMasterIdLst>
  <p:handoutMasterIdLst>
    <p:handoutMasterId r:id="rId12"/>
  </p:handoutMasterIdLst>
  <p:sldIdLst>
    <p:sldId id="1830142920" r:id="rId7"/>
    <p:sldId id="432" r:id="rId8"/>
    <p:sldId id="2147483426" r:id="rId9"/>
    <p:sldId id="348" r:id="rId10"/>
  </p:sldIdLst>
  <p:sldSz cx="12192000" cy="6858000"/>
  <p:notesSz cx="7315200" cy="96012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F13B377-949D-8AAC-404D-A97805CB6CBA}" name="Head, John (E&amp;PS)" initials="H(" userId="S::john.head@honeywell.com::a09960ca-5805-471a-9d8d-ae3641cef468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DC202E"/>
    <a:srgbClr val="0000FF"/>
    <a:srgbClr val="FFFFFF"/>
    <a:srgbClr val="E0E0E0"/>
    <a:srgbClr val="C0C0C0"/>
    <a:srgbClr val="A0A0A0"/>
    <a:srgbClr val="707070"/>
    <a:srgbClr val="404040"/>
    <a:srgbClr val="000000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1A3CEF3-8D54-45CE-A1B6-ADB8BB107BF3}" v="594" dt="2024-11-07T18:58:39.25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54" d="100"/>
          <a:sy n="54" d="100"/>
        </p:scale>
        <p:origin x="960" y="9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presProps" Target="presProps.xml"/><Relationship Id="rId18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handoutMaster" Target="handoutMasters/handoutMaster1.xml"/><Relationship Id="rId17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1.xml"/><Relationship Id="rId15" Type="http://schemas.openxmlformats.org/officeDocument/2006/relationships/theme" Target="theme/theme1.xml"/><Relationship Id="rId10" Type="http://schemas.openxmlformats.org/officeDocument/2006/relationships/slide" Target="slides/slide4.xml"/><Relationship Id="rId19" Type="http://schemas.microsoft.com/office/2018/10/relationships/authors" Target="authors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opez, Dave (BGA Aftmkt)" userId="3efd0e50-8734-4d76-9241-14ad2ed554f7" providerId="ADAL" clId="{51A3CEF3-8D54-45CE-A1B6-ADB8BB107BF3}"/>
    <pc:docChg chg="undo custSel addSld delSld modSld sldOrd addMainMaster delMainMaster">
      <pc:chgData name="Lopez, Dave (BGA Aftmkt)" userId="3efd0e50-8734-4d76-9241-14ad2ed554f7" providerId="ADAL" clId="{51A3CEF3-8D54-45CE-A1B6-ADB8BB107BF3}" dt="2024-11-07T19:01:16.516" v="2631" actId="1076"/>
      <pc:docMkLst>
        <pc:docMk/>
      </pc:docMkLst>
      <pc:sldChg chg="add del">
        <pc:chgData name="Lopez, Dave (BGA Aftmkt)" userId="3efd0e50-8734-4d76-9241-14ad2ed554f7" providerId="ADAL" clId="{51A3CEF3-8D54-45CE-A1B6-ADB8BB107BF3}" dt="2024-11-07T17:27:01.020" v="2299" actId="47"/>
        <pc:sldMkLst>
          <pc:docMk/>
          <pc:sldMk cId="0" sldId="256"/>
        </pc:sldMkLst>
      </pc:sldChg>
      <pc:sldChg chg="add del">
        <pc:chgData name="Lopez, Dave (BGA Aftmkt)" userId="3efd0e50-8734-4d76-9241-14ad2ed554f7" providerId="ADAL" clId="{51A3CEF3-8D54-45CE-A1B6-ADB8BB107BF3}" dt="2024-11-04T19:18:22.503" v="7" actId="47"/>
        <pc:sldMkLst>
          <pc:docMk/>
          <pc:sldMk cId="3639856283" sldId="262"/>
        </pc:sldMkLst>
      </pc:sldChg>
      <pc:sldChg chg="del">
        <pc:chgData name="Lopez, Dave (BGA Aftmkt)" userId="3efd0e50-8734-4d76-9241-14ad2ed554f7" providerId="ADAL" clId="{51A3CEF3-8D54-45CE-A1B6-ADB8BB107BF3}" dt="2024-11-04T19:21:56.228" v="19" actId="47"/>
        <pc:sldMkLst>
          <pc:docMk/>
          <pc:sldMk cId="3786538366" sldId="268"/>
        </pc:sldMkLst>
      </pc:sldChg>
      <pc:sldChg chg="del">
        <pc:chgData name="Lopez, Dave (BGA Aftmkt)" userId="3efd0e50-8734-4d76-9241-14ad2ed554f7" providerId="ADAL" clId="{51A3CEF3-8D54-45CE-A1B6-ADB8BB107BF3}" dt="2024-11-04T19:21:56.228" v="19" actId="47"/>
        <pc:sldMkLst>
          <pc:docMk/>
          <pc:sldMk cId="1890248066" sldId="270"/>
        </pc:sldMkLst>
      </pc:sldChg>
      <pc:sldChg chg="add del">
        <pc:chgData name="Lopez, Dave (BGA Aftmkt)" userId="3efd0e50-8734-4d76-9241-14ad2ed554f7" providerId="ADAL" clId="{51A3CEF3-8D54-45CE-A1B6-ADB8BB107BF3}" dt="2024-11-04T19:20:09.814" v="10" actId="47"/>
        <pc:sldMkLst>
          <pc:docMk/>
          <pc:sldMk cId="1695418637" sldId="272"/>
        </pc:sldMkLst>
      </pc:sldChg>
      <pc:sldChg chg="del">
        <pc:chgData name="Lopez, Dave (BGA Aftmkt)" userId="3efd0e50-8734-4d76-9241-14ad2ed554f7" providerId="ADAL" clId="{51A3CEF3-8D54-45CE-A1B6-ADB8BB107BF3}" dt="2024-11-04T19:21:56.228" v="19" actId="47"/>
        <pc:sldMkLst>
          <pc:docMk/>
          <pc:sldMk cId="2316805305" sldId="275"/>
        </pc:sldMkLst>
      </pc:sldChg>
      <pc:sldChg chg="del">
        <pc:chgData name="Lopez, Dave (BGA Aftmkt)" userId="3efd0e50-8734-4d76-9241-14ad2ed554f7" providerId="ADAL" clId="{51A3CEF3-8D54-45CE-A1B6-ADB8BB107BF3}" dt="2024-11-04T19:21:56.228" v="19" actId="47"/>
        <pc:sldMkLst>
          <pc:docMk/>
          <pc:sldMk cId="4035604649" sldId="284"/>
        </pc:sldMkLst>
      </pc:sldChg>
      <pc:sldChg chg="add del">
        <pc:chgData name="Lopez, Dave (BGA Aftmkt)" userId="3efd0e50-8734-4d76-9241-14ad2ed554f7" providerId="ADAL" clId="{51A3CEF3-8D54-45CE-A1B6-ADB8BB107BF3}" dt="2024-11-04T19:18:03.314" v="6" actId="47"/>
        <pc:sldMkLst>
          <pc:docMk/>
          <pc:sldMk cId="3257056035" sldId="293"/>
        </pc:sldMkLst>
      </pc:sldChg>
      <pc:sldChg chg="add del">
        <pc:chgData name="Lopez, Dave (BGA Aftmkt)" userId="3efd0e50-8734-4d76-9241-14ad2ed554f7" providerId="ADAL" clId="{51A3CEF3-8D54-45CE-A1B6-ADB8BB107BF3}" dt="2024-11-04T19:17:43.575" v="5" actId="47"/>
        <pc:sldMkLst>
          <pc:docMk/>
          <pc:sldMk cId="4044332513" sldId="295"/>
        </pc:sldMkLst>
      </pc:sldChg>
      <pc:sldChg chg="add del">
        <pc:chgData name="Lopez, Dave (BGA Aftmkt)" userId="3efd0e50-8734-4d76-9241-14ad2ed554f7" providerId="ADAL" clId="{51A3CEF3-8D54-45CE-A1B6-ADB8BB107BF3}" dt="2024-11-04T19:20:09.814" v="10" actId="47"/>
        <pc:sldMkLst>
          <pc:docMk/>
          <pc:sldMk cId="1167931524" sldId="304"/>
        </pc:sldMkLst>
      </pc:sldChg>
      <pc:sldChg chg="add del">
        <pc:chgData name="Lopez, Dave (BGA Aftmkt)" userId="3efd0e50-8734-4d76-9241-14ad2ed554f7" providerId="ADAL" clId="{51A3CEF3-8D54-45CE-A1B6-ADB8BB107BF3}" dt="2024-11-04T19:20:46.200" v="18" actId="47"/>
        <pc:sldMkLst>
          <pc:docMk/>
          <pc:sldMk cId="621535851" sldId="331"/>
        </pc:sldMkLst>
      </pc:sldChg>
      <pc:sldChg chg="add del">
        <pc:chgData name="Lopez, Dave (BGA Aftmkt)" userId="3efd0e50-8734-4d76-9241-14ad2ed554f7" providerId="ADAL" clId="{51A3CEF3-8D54-45CE-A1B6-ADB8BB107BF3}" dt="2024-11-04T19:20:09.814" v="10" actId="47"/>
        <pc:sldMkLst>
          <pc:docMk/>
          <pc:sldMk cId="2572874460" sldId="345"/>
        </pc:sldMkLst>
      </pc:sldChg>
      <pc:sldChg chg="del">
        <pc:chgData name="Lopez, Dave (BGA Aftmkt)" userId="3efd0e50-8734-4d76-9241-14ad2ed554f7" providerId="ADAL" clId="{51A3CEF3-8D54-45CE-A1B6-ADB8BB107BF3}" dt="2024-11-04T19:21:56.228" v="19" actId="47"/>
        <pc:sldMkLst>
          <pc:docMk/>
          <pc:sldMk cId="3664034481" sldId="346"/>
        </pc:sldMkLst>
      </pc:sldChg>
      <pc:sldChg chg="addSp delSp modSp mod ord modClrScheme chgLayout">
        <pc:chgData name="Lopez, Dave (BGA Aftmkt)" userId="3efd0e50-8734-4d76-9241-14ad2ed554f7" providerId="ADAL" clId="{51A3CEF3-8D54-45CE-A1B6-ADB8BB107BF3}" dt="2024-11-07T19:01:16.516" v="2631" actId="1076"/>
        <pc:sldMkLst>
          <pc:docMk/>
          <pc:sldMk cId="3371699970" sldId="348"/>
        </pc:sldMkLst>
        <pc:spChg chg="mod ord">
          <ac:chgData name="Lopez, Dave (BGA Aftmkt)" userId="3efd0e50-8734-4d76-9241-14ad2ed554f7" providerId="ADAL" clId="{51A3CEF3-8D54-45CE-A1B6-ADB8BB107BF3}" dt="2024-11-06T23:22:39.064" v="531" actId="1076"/>
          <ac:spMkLst>
            <pc:docMk/>
            <pc:sldMk cId="3371699970" sldId="348"/>
            <ac:spMk id="2" creationId="{745D2F66-034D-6E69-0635-B562BD60757C}"/>
          </ac:spMkLst>
        </pc:spChg>
        <pc:spChg chg="mod ord">
          <ac:chgData name="Lopez, Dave (BGA Aftmkt)" userId="3efd0e50-8734-4d76-9241-14ad2ed554f7" providerId="ADAL" clId="{51A3CEF3-8D54-45CE-A1B6-ADB8BB107BF3}" dt="2024-11-06T23:19:12.145" v="448" actId="700"/>
          <ac:spMkLst>
            <pc:docMk/>
            <pc:sldMk cId="3371699970" sldId="348"/>
            <ac:spMk id="5" creationId="{26ED81F9-943B-4CBD-DF81-FF0A833306B2}"/>
          </ac:spMkLst>
        </pc:spChg>
        <pc:spChg chg="mod">
          <ac:chgData name="Lopez, Dave (BGA Aftmkt)" userId="3efd0e50-8734-4d76-9241-14ad2ed554f7" providerId="ADAL" clId="{51A3CEF3-8D54-45CE-A1B6-ADB8BB107BF3}" dt="2024-11-07T18:42:26.010" v="2415" actId="20577"/>
          <ac:spMkLst>
            <pc:docMk/>
            <pc:sldMk cId="3371699970" sldId="348"/>
            <ac:spMk id="7" creationId="{B20CFB7F-0255-59C2-A672-781D51BEFB8B}"/>
          </ac:spMkLst>
        </pc:spChg>
        <pc:spChg chg="del">
          <ac:chgData name="Lopez, Dave (BGA Aftmkt)" userId="3efd0e50-8734-4d76-9241-14ad2ed554f7" providerId="ADAL" clId="{51A3CEF3-8D54-45CE-A1B6-ADB8BB107BF3}" dt="2024-11-06T22:10:24.900" v="352" actId="478"/>
          <ac:spMkLst>
            <pc:docMk/>
            <pc:sldMk cId="3371699970" sldId="348"/>
            <ac:spMk id="8" creationId="{44FB6C0E-2729-3847-242F-FD1EAE372907}"/>
          </ac:spMkLst>
        </pc:spChg>
        <pc:spChg chg="add mod">
          <ac:chgData name="Lopez, Dave (BGA Aftmkt)" userId="3efd0e50-8734-4d76-9241-14ad2ed554f7" providerId="ADAL" clId="{51A3CEF3-8D54-45CE-A1B6-ADB8BB107BF3}" dt="2024-11-07T18:44:27.908" v="2491" actId="1037"/>
          <ac:spMkLst>
            <pc:docMk/>
            <pc:sldMk cId="3371699970" sldId="348"/>
            <ac:spMk id="13" creationId="{A5DA5DBC-CAF0-B79D-2DB9-87EF9E0B5358}"/>
          </ac:spMkLst>
        </pc:spChg>
        <pc:spChg chg="add mod">
          <ac:chgData name="Lopez, Dave (BGA Aftmkt)" userId="3efd0e50-8734-4d76-9241-14ad2ed554f7" providerId="ADAL" clId="{51A3CEF3-8D54-45CE-A1B6-ADB8BB107BF3}" dt="2024-11-07T18:44:27.908" v="2491" actId="1037"/>
          <ac:spMkLst>
            <pc:docMk/>
            <pc:sldMk cId="3371699970" sldId="348"/>
            <ac:spMk id="14" creationId="{C8092F48-C6C6-02BB-D66B-194DAB300573}"/>
          </ac:spMkLst>
        </pc:spChg>
        <pc:spChg chg="del mod">
          <ac:chgData name="Lopez, Dave (BGA Aftmkt)" userId="3efd0e50-8734-4d76-9241-14ad2ed554f7" providerId="ADAL" clId="{51A3CEF3-8D54-45CE-A1B6-ADB8BB107BF3}" dt="2024-11-06T22:20:03.886" v="415" actId="478"/>
          <ac:spMkLst>
            <pc:docMk/>
            <pc:sldMk cId="3371699970" sldId="348"/>
            <ac:spMk id="15" creationId="{B7C3FCAE-BFDF-AFEC-8446-4024CF9A3A6F}"/>
          </ac:spMkLst>
        </pc:spChg>
        <pc:spChg chg="add del mod">
          <ac:chgData name="Lopez, Dave (BGA Aftmkt)" userId="3efd0e50-8734-4d76-9241-14ad2ed554f7" providerId="ADAL" clId="{51A3CEF3-8D54-45CE-A1B6-ADB8BB107BF3}" dt="2024-11-06T23:28:29.082" v="824" actId="478"/>
          <ac:spMkLst>
            <pc:docMk/>
            <pc:sldMk cId="3371699970" sldId="348"/>
            <ac:spMk id="16" creationId="{CB6743DE-EF03-8E40-BA11-4E73DC8BFF43}"/>
          </ac:spMkLst>
        </pc:spChg>
        <pc:spChg chg="add del mod">
          <ac:chgData name="Lopez, Dave (BGA Aftmkt)" userId="3efd0e50-8734-4d76-9241-14ad2ed554f7" providerId="ADAL" clId="{51A3CEF3-8D54-45CE-A1B6-ADB8BB107BF3}" dt="2024-11-06T23:26:18.641" v="723" actId="478"/>
          <ac:spMkLst>
            <pc:docMk/>
            <pc:sldMk cId="3371699970" sldId="348"/>
            <ac:spMk id="17" creationId="{F55C3D37-F251-8162-8CBE-8322527D4F5B}"/>
          </ac:spMkLst>
        </pc:spChg>
        <pc:spChg chg="add del mod ord">
          <ac:chgData name="Lopez, Dave (BGA Aftmkt)" userId="3efd0e50-8734-4d76-9241-14ad2ed554f7" providerId="ADAL" clId="{51A3CEF3-8D54-45CE-A1B6-ADB8BB107BF3}" dt="2024-11-06T23:17:56.549" v="440" actId="478"/>
          <ac:spMkLst>
            <pc:docMk/>
            <pc:sldMk cId="3371699970" sldId="348"/>
            <ac:spMk id="18" creationId="{3416D816-8F8F-A1C0-4992-CC6A94B1C961}"/>
          </ac:spMkLst>
        </pc:spChg>
        <pc:spChg chg="add del mod ord">
          <ac:chgData name="Lopez, Dave (BGA Aftmkt)" userId="3efd0e50-8734-4d76-9241-14ad2ed554f7" providerId="ADAL" clId="{51A3CEF3-8D54-45CE-A1B6-ADB8BB107BF3}" dt="2024-11-06T23:17:58.533" v="441" actId="478"/>
          <ac:spMkLst>
            <pc:docMk/>
            <pc:sldMk cId="3371699970" sldId="348"/>
            <ac:spMk id="19" creationId="{BF4BEB74-C730-F9A2-517E-51CA4A30DCBD}"/>
          </ac:spMkLst>
        </pc:spChg>
        <pc:spChg chg="add del mod ord">
          <ac:chgData name="Lopez, Dave (BGA Aftmkt)" userId="3efd0e50-8734-4d76-9241-14ad2ed554f7" providerId="ADAL" clId="{51A3CEF3-8D54-45CE-A1B6-ADB8BB107BF3}" dt="2024-11-06T23:17:44.563" v="439" actId="1032"/>
          <ac:spMkLst>
            <pc:docMk/>
            <pc:sldMk cId="3371699970" sldId="348"/>
            <ac:spMk id="20" creationId="{1A115FC6-8062-6388-323E-1B42FB330845}"/>
          </ac:spMkLst>
        </pc:spChg>
        <pc:spChg chg="add del mod ord">
          <ac:chgData name="Lopez, Dave (BGA Aftmkt)" userId="3efd0e50-8734-4d76-9241-14ad2ed554f7" providerId="ADAL" clId="{51A3CEF3-8D54-45CE-A1B6-ADB8BB107BF3}" dt="2024-11-06T23:18:42.912" v="444" actId="700"/>
          <ac:spMkLst>
            <pc:docMk/>
            <pc:sldMk cId="3371699970" sldId="348"/>
            <ac:spMk id="21" creationId="{DB30AA4A-2CC3-95B0-D0B4-04539DA00320}"/>
          </ac:spMkLst>
        </pc:spChg>
        <pc:spChg chg="add del mod ord">
          <ac:chgData name="Lopez, Dave (BGA Aftmkt)" userId="3efd0e50-8734-4d76-9241-14ad2ed554f7" providerId="ADAL" clId="{51A3CEF3-8D54-45CE-A1B6-ADB8BB107BF3}" dt="2024-11-06T23:18:50.701" v="445" actId="478"/>
          <ac:spMkLst>
            <pc:docMk/>
            <pc:sldMk cId="3371699970" sldId="348"/>
            <ac:spMk id="23" creationId="{B08ACE95-936C-75A6-D3CD-7D439F0AA9E3}"/>
          </ac:spMkLst>
        </pc:spChg>
        <pc:spChg chg="add del mod ord">
          <ac:chgData name="Lopez, Dave (BGA Aftmkt)" userId="3efd0e50-8734-4d76-9241-14ad2ed554f7" providerId="ADAL" clId="{51A3CEF3-8D54-45CE-A1B6-ADB8BB107BF3}" dt="2024-11-06T23:18:52.379" v="446" actId="478"/>
          <ac:spMkLst>
            <pc:docMk/>
            <pc:sldMk cId="3371699970" sldId="348"/>
            <ac:spMk id="24" creationId="{573FA234-B5A0-20DC-7AD0-BDC48E09BFDA}"/>
          </ac:spMkLst>
        </pc:spChg>
        <pc:spChg chg="add del mod ord">
          <ac:chgData name="Lopez, Dave (BGA Aftmkt)" userId="3efd0e50-8734-4d76-9241-14ad2ed554f7" providerId="ADAL" clId="{51A3CEF3-8D54-45CE-A1B6-ADB8BB107BF3}" dt="2024-11-06T23:19:12.145" v="448" actId="700"/>
          <ac:spMkLst>
            <pc:docMk/>
            <pc:sldMk cId="3371699970" sldId="348"/>
            <ac:spMk id="25" creationId="{4DBD90DA-F991-57D2-EEFA-59F4CC3FF880}"/>
          </ac:spMkLst>
        </pc:spChg>
        <pc:spChg chg="add del mod ord">
          <ac:chgData name="Lopez, Dave (BGA Aftmkt)" userId="3efd0e50-8734-4d76-9241-14ad2ed554f7" providerId="ADAL" clId="{51A3CEF3-8D54-45CE-A1B6-ADB8BB107BF3}" dt="2024-11-06T23:19:12.145" v="448" actId="700"/>
          <ac:spMkLst>
            <pc:docMk/>
            <pc:sldMk cId="3371699970" sldId="348"/>
            <ac:spMk id="26" creationId="{48DE5A92-912A-22D3-FF1E-8F9AF09F9B44}"/>
          </ac:spMkLst>
        </pc:spChg>
        <pc:spChg chg="add del mod ord">
          <ac:chgData name="Lopez, Dave (BGA Aftmkt)" userId="3efd0e50-8734-4d76-9241-14ad2ed554f7" providerId="ADAL" clId="{51A3CEF3-8D54-45CE-A1B6-ADB8BB107BF3}" dt="2024-11-06T23:19:12.145" v="448" actId="700"/>
          <ac:spMkLst>
            <pc:docMk/>
            <pc:sldMk cId="3371699970" sldId="348"/>
            <ac:spMk id="27" creationId="{DD5643BE-5347-0EF5-25DD-4F7DE3340917}"/>
          </ac:spMkLst>
        </pc:spChg>
        <pc:spChg chg="add del mod ord">
          <ac:chgData name="Lopez, Dave (BGA Aftmkt)" userId="3efd0e50-8734-4d76-9241-14ad2ed554f7" providerId="ADAL" clId="{51A3CEF3-8D54-45CE-A1B6-ADB8BB107BF3}" dt="2024-11-06T23:19:12.145" v="448" actId="700"/>
          <ac:spMkLst>
            <pc:docMk/>
            <pc:sldMk cId="3371699970" sldId="348"/>
            <ac:spMk id="28" creationId="{FD7CE865-8A5B-DB03-4988-3314FFC94628}"/>
          </ac:spMkLst>
        </pc:spChg>
        <pc:spChg chg="add del mod ord">
          <ac:chgData name="Lopez, Dave (BGA Aftmkt)" userId="3efd0e50-8734-4d76-9241-14ad2ed554f7" providerId="ADAL" clId="{51A3CEF3-8D54-45CE-A1B6-ADB8BB107BF3}" dt="2024-11-06T23:19:12.145" v="448" actId="700"/>
          <ac:spMkLst>
            <pc:docMk/>
            <pc:sldMk cId="3371699970" sldId="348"/>
            <ac:spMk id="29" creationId="{D0D6E86C-A346-135D-29DF-347B17ED7C0C}"/>
          </ac:spMkLst>
        </pc:spChg>
        <pc:spChg chg="add del mod ord">
          <ac:chgData name="Lopez, Dave (BGA Aftmkt)" userId="3efd0e50-8734-4d76-9241-14ad2ed554f7" providerId="ADAL" clId="{51A3CEF3-8D54-45CE-A1B6-ADB8BB107BF3}" dt="2024-11-06T23:19:12.145" v="448" actId="700"/>
          <ac:spMkLst>
            <pc:docMk/>
            <pc:sldMk cId="3371699970" sldId="348"/>
            <ac:spMk id="30" creationId="{8D46CCA3-646A-11CD-B59C-404C92C826A4}"/>
          </ac:spMkLst>
        </pc:spChg>
        <pc:spChg chg="add del mod ord">
          <ac:chgData name="Lopez, Dave (BGA Aftmkt)" userId="3efd0e50-8734-4d76-9241-14ad2ed554f7" providerId="ADAL" clId="{51A3CEF3-8D54-45CE-A1B6-ADB8BB107BF3}" dt="2024-11-06T23:19:12.145" v="448" actId="700"/>
          <ac:spMkLst>
            <pc:docMk/>
            <pc:sldMk cId="3371699970" sldId="348"/>
            <ac:spMk id="31" creationId="{F6385943-5514-29CC-1942-EF54F38A2B8A}"/>
          </ac:spMkLst>
        </pc:spChg>
        <pc:spChg chg="add del mod ord">
          <ac:chgData name="Lopez, Dave (BGA Aftmkt)" userId="3efd0e50-8734-4d76-9241-14ad2ed554f7" providerId="ADAL" clId="{51A3CEF3-8D54-45CE-A1B6-ADB8BB107BF3}" dt="2024-11-06T23:19:12.145" v="448" actId="700"/>
          <ac:spMkLst>
            <pc:docMk/>
            <pc:sldMk cId="3371699970" sldId="348"/>
            <ac:spMk id="32" creationId="{293D61C2-B88E-3FEB-A101-5BAD6ED2066A}"/>
          </ac:spMkLst>
        </pc:spChg>
        <pc:spChg chg="add del mod ord">
          <ac:chgData name="Lopez, Dave (BGA Aftmkt)" userId="3efd0e50-8734-4d76-9241-14ad2ed554f7" providerId="ADAL" clId="{51A3CEF3-8D54-45CE-A1B6-ADB8BB107BF3}" dt="2024-11-06T23:19:12.145" v="448" actId="700"/>
          <ac:spMkLst>
            <pc:docMk/>
            <pc:sldMk cId="3371699970" sldId="348"/>
            <ac:spMk id="33" creationId="{7D371A2E-3FC3-9C2E-9FB2-12C846C7677E}"/>
          </ac:spMkLst>
        </pc:spChg>
        <pc:spChg chg="add del mod ord">
          <ac:chgData name="Lopez, Dave (BGA Aftmkt)" userId="3efd0e50-8734-4d76-9241-14ad2ed554f7" providerId="ADAL" clId="{51A3CEF3-8D54-45CE-A1B6-ADB8BB107BF3}" dt="2024-11-06T23:19:12.145" v="448" actId="700"/>
          <ac:spMkLst>
            <pc:docMk/>
            <pc:sldMk cId="3371699970" sldId="348"/>
            <ac:spMk id="34" creationId="{A102E435-9D08-227C-EA27-C3CE942FABD3}"/>
          </ac:spMkLst>
        </pc:spChg>
        <pc:spChg chg="add del mod ord">
          <ac:chgData name="Lopez, Dave (BGA Aftmkt)" userId="3efd0e50-8734-4d76-9241-14ad2ed554f7" providerId="ADAL" clId="{51A3CEF3-8D54-45CE-A1B6-ADB8BB107BF3}" dt="2024-11-06T23:19:12.145" v="448" actId="700"/>
          <ac:spMkLst>
            <pc:docMk/>
            <pc:sldMk cId="3371699970" sldId="348"/>
            <ac:spMk id="35" creationId="{F7622836-F9FA-BC9D-F018-5187C6CC2EED}"/>
          </ac:spMkLst>
        </pc:spChg>
        <pc:spChg chg="add del mod ord">
          <ac:chgData name="Lopez, Dave (BGA Aftmkt)" userId="3efd0e50-8734-4d76-9241-14ad2ed554f7" providerId="ADAL" clId="{51A3CEF3-8D54-45CE-A1B6-ADB8BB107BF3}" dt="2024-11-06T23:19:12.145" v="448" actId="700"/>
          <ac:spMkLst>
            <pc:docMk/>
            <pc:sldMk cId="3371699970" sldId="348"/>
            <ac:spMk id="36" creationId="{2B59A597-CB5D-E349-9FEA-8C8BFFCC15B6}"/>
          </ac:spMkLst>
        </pc:spChg>
        <pc:spChg chg="add del mod ord">
          <ac:chgData name="Lopez, Dave (BGA Aftmkt)" userId="3efd0e50-8734-4d76-9241-14ad2ed554f7" providerId="ADAL" clId="{51A3CEF3-8D54-45CE-A1B6-ADB8BB107BF3}" dt="2024-11-06T23:19:12.145" v="448" actId="700"/>
          <ac:spMkLst>
            <pc:docMk/>
            <pc:sldMk cId="3371699970" sldId="348"/>
            <ac:spMk id="37" creationId="{EE6F4C53-54B8-52A8-68D0-830BD9913075}"/>
          </ac:spMkLst>
        </pc:spChg>
        <pc:spChg chg="add del mod ord">
          <ac:chgData name="Lopez, Dave (BGA Aftmkt)" userId="3efd0e50-8734-4d76-9241-14ad2ed554f7" providerId="ADAL" clId="{51A3CEF3-8D54-45CE-A1B6-ADB8BB107BF3}" dt="2024-11-06T23:19:12.145" v="448" actId="700"/>
          <ac:spMkLst>
            <pc:docMk/>
            <pc:sldMk cId="3371699970" sldId="348"/>
            <ac:spMk id="38" creationId="{DCB463BC-2994-D58B-46E5-5A9F8CA7F30F}"/>
          </ac:spMkLst>
        </pc:spChg>
        <pc:spChg chg="add del mod ord">
          <ac:chgData name="Lopez, Dave (BGA Aftmkt)" userId="3efd0e50-8734-4d76-9241-14ad2ed554f7" providerId="ADAL" clId="{51A3CEF3-8D54-45CE-A1B6-ADB8BB107BF3}" dt="2024-11-06T23:19:12.145" v="448" actId="700"/>
          <ac:spMkLst>
            <pc:docMk/>
            <pc:sldMk cId="3371699970" sldId="348"/>
            <ac:spMk id="39" creationId="{1E8EC13C-B3D3-A0D8-A9E5-7A63F56A7478}"/>
          </ac:spMkLst>
        </pc:spChg>
        <pc:spChg chg="add del mod ord">
          <ac:chgData name="Lopez, Dave (BGA Aftmkt)" userId="3efd0e50-8734-4d76-9241-14ad2ed554f7" providerId="ADAL" clId="{51A3CEF3-8D54-45CE-A1B6-ADB8BB107BF3}" dt="2024-11-06T23:19:12.145" v="448" actId="700"/>
          <ac:spMkLst>
            <pc:docMk/>
            <pc:sldMk cId="3371699970" sldId="348"/>
            <ac:spMk id="40" creationId="{A794630F-9F13-16D6-23ED-542F8B81BA3D}"/>
          </ac:spMkLst>
        </pc:spChg>
        <pc:spChg chg="add mod ord">
          <ac:chgData name="Lopez, Dave (BGA Aftmkt)" userId="3efd0e50-8734-4d76-9241-14ad2ed554f7" providerId="ADAL" clId="{51A3CEF3-8D54-45CE-A1B6-ADB8BB107BF3}" dt="2024-11-06T23:46:27.585" v="1136" actId="20577"/>
          <ac:spMkLst>
            <pc:docMk/>
            <pc:sldMk cId="3371699970" sldId="348"/>
            <ac:spMk id="41" creationId="{B91DACF0-9947-8380-1E1F-44C8D8D95209}"/>
          </ac:spMkLst>
        </pc:spChg>
        <pc:spChg chg="add del mod">
          <ac:chgData name="Lopez, Dave (BGA Aftmkt)" userId="3efd0e50-8734-4d76-9241-14ad2ed554f7" providerId="ADAL" clId="{51A3CEF3-8D54-45CE-A1B6-ADB8BB107BF3}" dt="2024-11-07T18:44:31.706" v="2492" actId="478"/>
          <ac:spMkLst>
            <pc:docMk/>
            <pc:sldMk cId="3371699970" sldId="348"/>
            <ac:spMk id="42" creationId="{2D0D0A25-ADFB-130D-5B53-03D899F0EABF}"/>
          </ac:spMkLst>
        </pc:spChg>
        <pc:spChg chg="add del mod">
          <ac:chgData name="Lopez, Dave (BGA Aftmkt)" userId="3efd0e50-8734-4d76-9241-14ad2ed554f7" providerId="ADAL" clId="{51A3CEF3-8D54-45CE-A1B6-ADB8BB107BF3}" dt="2024-11-07T18:58:05.315" v="2576" actId="478"/>
          <ac:spMkLst>
            <pc:docMk/>
            <pc:sldMk cId="3371699970" sldId="348"/>
            <ac:spMk id="43" creationId="{2819FAEE-D5B2-0CB7-CDD8-C594B80E97FB}"/>
          </ac:spMkLst>
        </pc:spChg>
        <pc:spChg chg="add mod">
          <ac:chgData name="Lopez, Dave (BGA Aftmkt)" userId="3efd0e50-8734-4d76-9241-14ad2ed554f7" providerId="ADAL" clId="{51A3CEF3-8D54-45CE-A1B6-ADB8BB107BF3}" dt="2024-11-07T18:58:32.308" v="2601" actId="207"/>
          <ac:spMkLst>
            <pc:docMk/>
            <pc:sldMk cId="3371699970" sldId="348"/>
            <ac:spMk id="46" creationId="{1E120D77-DED1-D4C3-5B4A-171411F28B01}"/>
          </ac:spMkLst>
        </pc:spChg>
        <pc:spChg chg="add del mod">
          <ac:chgData name="Lopez, Dave (BGA Aftmkt)" userId="3efd0e50-8734-4d76-9241-14ad2ed554f7" providerId="ADAL" clId="{51A3CEF3-8D54-45CE-A1B6-ADB8BB107BF3}" dt="2024-11-07T19:00:21.930" v="2621" actId="478"/>
          <ac:spMkLst>
            <pc:docMk/>
            <pc:sldMk cId="3371699970" sldId="348"/>
            <ac:spMk id="47" creationId="{5C443359-47E7-68D4-A614-968B39615775}"/>
          </ac:spMkLst>
        </pc:spChg>
        <pc:spChg chg="add mod">
          <ac:chgData name="Lopez, Dave (BGA Aftmkt)" userId="3efd0e50-8734-4d76-9241-14ad2ed554f7" providerId="ADAL" clId="{51A3CEF3-8D54-45CE-A1B6-ADB8BB107BF3}" dt="2024-11-07T19:01:16.516" v="2631" actId="1076"/>
          <ac:spMkLst>
            <pc:docMk/>
            <pc:sldMk cId="3371699970" sldId="348"/>
            <ac:spMk id="48" creationId="{0B48BC47-FF86-2EC2-E952-37874E613BDA}"/>
          </ac:spMkLst>
        </pc:spChg>
        <pc:graphicFrameChg chg="add mod ord modGraphic">
          <ac:chgData name="Lopez, Dave (BGA Aftmkt)" userId="3efd0e50-8734-4d76-9241-14ad2ed554f7" providerId="ADAL" clId="{51A3CEF3-8D54-45CE-A1B6-ADB8BB107BF3}" dt="2024-11-07T18:52:08.642" v="2526" actId="20577"/>
          <ac:graphicFrameMkLst>
            <pc:docMk/>
            <pc:sldMk cId="3371699970" sldId="348"/>
            <ac:graphicFrameMk id="22" creationId="{1867699E-9635-7F35-7DD5-96B442F778BA}"/>
          </ac:graphicFrameMkLst>
        </pc:graphicFrameChg>
        <pc:picChg chg="del mod">
          <ac:chgData name="Lopez, Dave (BGA Aftmkt)" userId="3efd0e50-8734-4d76-9241-14ad2ed554f7" providerId="ADAL" clId="{51A3CEF3-8D54-45CE-A1B6-ADB8BB107BF3}" dt="2024-11-06T22:10:25.886" v="354" actId="478"/>
          <ac:picMkLst>
            <pc:docMk/>
            <pc:sldMk cId="3371699970" sldId="348"/>
            <ac:picMk id="3" creationId="{339D61AC-B513-8687-DC2F-19E635232301}"/>
          </ac:picMkLst>
        </pc:picChg>
        <pc:picChg chg="add del mod">
          <ac:chgData name="Lopez, Dave (BGA Aftmkt)" userId="3efd0e50-8734-4d76-9241-14ad2ed554f7" providerId="ADAL" clId="{51A3CEF3-8D54-45CE-A1B6-ADB8BB107BF3}" dt="2024-11-06T22:13:33.969" v="380" actId="478"/>
          <ac:picMkLst>
            <pc:docMk/>
            <pc:sldMk cId="3371699970" sldId="348"/>
            <ac:picMk id="4" creationId="{3E8D74E1-F23E-2D06-BE7A-959515192FA7}"/>
          </ac:picMkLst>
        </pc:picChg>
        <pc:picChg chg="del mod">
          <ac:chgData name="Lopez, Dave (BGA Aftmkt)" userId="3efd0e50-8734-4d76-9241-14ad2ed554f7" providerId="ADAL" clId="{51A3CEF3-8D54-45CE-A1B6-ADB8BB107BF3}" dt="2024-11-06T22:13:32.902" v="379" actId="478"/>
          <ac:picMkLst>
            <pc:docMk/>
            <pc:sldMk cId="3371699970" sldId="348"/>
            <ac:picMk id="6" creationId="{01489B02-9BFC-DDEF-8422-35221399ACCA}"/>
          </ac:picMkLst>
        </pc:picChg>
        <pc:picChg chg="add mod">
          <ac:chgData name="Lopez, Dave (BGA Aftmkt)" userId="3efd0e50-8734-4d76-9241-14ad2ed554f7" providerId="ADAL" clId="{51A3CEF3-8D54-45CE-A1B6-ADB8BB107BF3}" dt="2024-11-07T18:44:27.908" v="2491" actId="1037"/>
          <ac:picMkLst>
            <pc:docMk/>
            <pc:sldMk cId="3371699970" sldId="348"/>
            <ac:picMk id="9" creationId="{4E48992C-1C2C-D298-3141-E3CA62102051}"/>
          </ac:picMkLst>
        </pc:picChg>
        <pc:picChg chg="add mod modCrop">
          <ac:chgData name="Lopez, Dave (BGA Aftmkt)" userId="3efd0e50-8734-4d76-9241-14ad2ed554f7" providerId="ADAL" clId="{51A3CEF3-8D54-45CE-A1B6-ADB8BB107BF3}" dt="2024-11-07T18:44:27.908" v="2491" actId="1037"/>
          <ac:picMkLst>
            <pc:docMk/>
            <pc:sldMk cId="3371699970" sldId="348"/>
            <ac:picMk id="12" creationId="{0B27E093-065A-1DD7-B77C-15E5669532FC}"/>
          </ac:picMkLst>
        </pc:picChg>
        <pc:picChg chg="add mod">
          <ac:chgData name="Lopez, Dave (BGA Aftmkt)" userId="3efd0e50-8734-4d76-9241-14ad2ed554f7" providerId="ADAL" clId="{51A3CEF3-8D54-45CE-A1B6-ADB8BB107BF3}" dt="2024-11-07T19:00:36.384" v="2627" actId="1076"/>
          <ac:picMkLst>
            <pc:docMk/>
            <pc:sldMk cId="3371699970" sldId="348"/>
            <ac:picMk id="45" creationId="{7DDF2DAC-E3DF-F9E7-A313-D0EACCFF4B46}"/>
          </ac:picMkLst>
        </pc:picChg>
        <pc:cxnChg chg="del">
          <ac:chgData name="Lopez, Dave (BGA Aftmkt)" userId="3efd0e50-8734-4d76-9241-14ad2ed554f7" providerId="ADAL" clId="{51A3CEF3-8D54-45CE-A1B6-ADB8BB107BF3}" dt="2024-11-06T22:10:27.672" v="355" actId="478"/>
          <ac:cxnSpMkLst>
            <pc:docMk/>
            <pc:sldMk cId="3371699970" sldId="348"/>
            <ac:cxnSpMk id="11" creationId="{B9F326B9-A786-3B14-6BC1-D8DEC4BBC0CE}"/>
          </ac:cxnSpMkLst>
        </pc:cxnChg>
      </pc:sldChg>
      <pc:sldChg chg="del">
        <pc:chgData name="Lopez, Dave (BGA Aftmkt)" userId="3efd0e50-8734-4d76-9241-14ad2ed554f7" providerId="ADAL" clId="{51A3CEF3-8D54-45CE-A1B6-ADB8BB107BF3}" dt="2024-11-06T22:20:24.551" v="422" actId="47"/>
        <pc:sldMkLst>
          <pc:docMk/>
          <pc:sldMk cId="1025852212" sldId="349"/>
        </pc:sldMkLst>
      </pc:sldChg>
      <pc:sldChg chg="del">
        <pc:chgData name="Lopez, Dave (BGA Aftmkt)" userId="3efd0e50-8734-4d76-9241-14ad2ed554f7" providerId="ADAL" clId="{51A3CEF3-8D54-45CE-A1B6-ADB8BB107BF3}" dt="2024-11-04T19:21:56.228" v="19" actId="47"/>
        <pc:sldMkLst>
          <pc:docMk/>
          <pc:sldMk cId="1249533554" sldId="351"/>
        </pc:sldMkLst>
      </pc:sldChg>
      <pc:sldChg chg="add del">
        <pc:chgData name="Lopez, Dave (BGA Aftmkt)" userId="3efd0e50-8734-4d76-9241-14ad2ed554f7" providerId="ADAL" clId="{51A3CEF3-8D54-45CE-A1B6-ADB8BB107BF3}" dt="2024-11-04T19:20:09.814" v="10" actId="47"/>
        <pc:sldMkLst>
          <pc:docMk/>
          <pc:sldMk cId="3391782982" sldId="364"/>
        </pc:sldMkLst>
      </pc:sldChg>
      <pc:sldChg chg="add del">
        <pc:chgData name="Lopez, Dave (BGA Aftmkt)" userId="3efd0e50-8734-4d76-9241-14ad2ed554f7" providerId="ADAL" clId="{51A3CEF3-8D54-45CE-A1B6-ADB8BB107BF3}" dt="2024-11-04T19:20:35.182" v="14" actId="47"/>
        <pc:sldMkLst>
          <pc:docMk/>
          <pc:sldMk cId="1412393458" sldId="390"/>
        </pc:sldMkLst>
      </pc:sldChg>
      <pc:sldChg chg="del">
        <pc:chgData name="Lopez, Dave (BGA Aftmkt)" userId="3efd0e50-8734-4d76-9241-14ad2ed554f7" providerId="ADAL" clId="{51A3CEF3-8D54-45CE-A1B6-ADB8BB107BF3}" dt="2024-11-04T19:21:56.228" v="19" actId="47"/>
        <pc:sldMkLst>
          <pc:docMk/>
          <pc:sldMk cId="1088490537" sldId="391"/>
        </pc:sldMkLst>
      </pc:sldChg>
      <pc:sldChg chg="del">
        <pc:chgData name="Lopez, Dave (BGA Aftmkt)" userId="3efd0e50-8734-4d76-9241-14ad2ed554f7" providerId="ADAL" clId="{51A3CEF3-8D54-45CE-A1B6-ADB8BB107BF3}" dt="2024-11-04T19:21:56.228" v="19" actId="47"/>
        <pc:sldMkLst>
          <pc:docMk/>
          <pc:sldMk cId="4005964106" sldId="392"/>
        </pc:sldMkLst>
      </pc:sldChg>
      <pc:sldChg chg="del">
        <pc:chgData name="Lopez, Dave (BGA Aftmkt)" userId="3efd0e50-8734-4d76-9241-14ad2ed554f7" providerId="ADAL" clId="{51A3CEF3-8D54-45CE-A1B6-ADB8BB107BF3}" dt="2024-11-04T19:21:56.228" v="19" actId="47"/>
        <pc:sldMkLst>
          <pc:docMk/>
          <pc:sldMk cId="2350018744" sldId="393"/>
        </pc:sldMkLst>
      </pc:sldChg>
      <pc:sldChg chg="del">
        <pc:chgData name="Lopez, Dave (BGA Aftmkt)" userId="3efd0e50-8734-4d76-9241-14ad2ed554f7" providerId="ADAL" clId="{51A3CEF3-8D54-45CE-A1B6-ADB8BB107BF3}" dt="2024-11-04T19:21:56.228" v="19" actId="47"/>
        <pc:sldMkLst>
          <pc:docMk/>
          <pc:sldMk cId="3288339731" sldId="394"/>
        </pc:sldMkLst>
      </pc:sldChg>
      <pc:sldChg chg="add del">
        <pc:chgData name="Lopez, Dave (BGA Aftmkt)" userId="3efd0e50-8734-4d76-9241-14ad2ed554f7" providerId="ADAL" clId="{51A3CEF3-8D54-45CE-A1B6-ADB8BB107BF3}" dt="2024-11-04T19:20:09.814" v="10" actId="47"/>
        <pc:sldMkLst>
          <pc:docMk/>
          <pc:sldMk cId="3087879030" sldId="395"/>
        </pc:sldMkLst>
      </pc:sldChg>
      <pc:sldChg chg="add del">
        <pc:chgData name="Lopez, Dave (BGA Aftmkt)" userId="3efd0e50-8734-4d76-9241-14ad2ed554f7" providerId="ADAL" clId="{51A3CEF3-8D54-45CE-A1B6-ADB8BB107BF3}" dt="2024-11-04T19:18:22.503" v="7" actId="47"/>
        <pc:sldMkLst>
          <pc:docMk/>
          <pc:sldMk cId="3621934294" sldId="396"/>
        </pc:sldMkLst>
      </pc:sldChg>
      <pc:sldChg chg="del">
        <pc:chgData name="Lopez, Dave (BGA Aftmkt)" userId="3efd0e50-8734-4d76-9241-14ad2ed554f7" providerId="ADAL" clId="{51A3CEF3-8D54-45CE-A1B6-ADB8BB107BF3}" dt="2024-11-04T19:21:56.228" v="19" actId="47"/>
        <pc:sldMkLst>
          <pc:docMk/>
          <pc:sldMk cId="1436079377" sldId="397"/>
        </pc:sldMkLst>
      </pc:sldChg>
      <pc:sldChg chg="del">
        <pc:chgData name="Lopez, Dave (BGA Aftmkt)" userId="3efd0e50-8734-4d76-9241-14ad2ed554f7" providerId="ADAL" clId="{51A3CEF3-8D54-45CE-A1B6-ADB8BB107BF3}" dt="2024-11-04T19:21:56.228" v="19" actId="47"/>
        <pc:sldMkLst>
          <pc:docMk/>
          <pc:sldMk cId="3034483768" sldId="398"/>
        </pc:sldMkLst>
      </pc:sldChg>
      <pc:sldChg chg="del">
        <pc:chgData name="Lopez, Dave (BGA Aftmkt)" userId="3efd0e50-8734-4d76-9241-14ad2ed554f7" providerId="ADAL" clId="{51A3CEF3-8D54-45CE-A1B6-ADB8BB107BF3}" dt="2024-11-04T19:21:56.228" v="19" actId="47"/>
        <pc:sldMkLst>
          <pc:docMk/>
          <pc:sldMk cId="4092549220" sldId="404"/>
        </pc:sldMkLst>
      </pc:sldChg>
      <pc:sldChg chg="del">
        <pc:chgData name="Lopez, Dave (BGA Aftmkt)" userId="3efd0e50-8734-4d76-9241-14ad2ed554f7" providerId="ADAL" clId="{51A3CEF3-8D54-45CE-A1B6-ADB8BB107BF3}" dt="2024-11-04T19:21:56.228" v="19" actId="47"/>
        <pc:sldMkLst>
          <pc:docMk/>
          <pc:sldMk cId="1658864092" sldId="406"/>
        </pc:sldMkLst>
      </pc:sldChg>
      <pc:sldChg chg="del">
        <pc:chgData name="Lopez, Dave (BGA Aftmkt)" userId="3efd0e50-8734-4d76-9241-14ad2ed554f7" providerId="ADAL" clId="{51A3CEF3-8D54-45CE-A1B6-ADB8BB107BF3}" dt="2024-11-04T19:21:56.228" v="19" actId="47"/>
        <pc:sldMkLst>
          <pc:docMk/>
          <pc:sldMk cId="288226120" sldId="407"/>
        </pc:sldMkLst>
      </pc:sldChg>
      <pc:sldChg chg="add del">
        <pc:chgData name="Lopez, Dave (BGA Aftmkt)" userId="3efd0e50-8734-4d76-9241-14ad2ed554f7" providerId="ADAL" clId="{51A3CEF3-8D54-45CE-A1B6-ADB8BB107BF3}" dt="2024-11-04T19:20:09.814" v="10" actId="47"/>
        <pc:sldMkLst>
          <pc:docMk/>
          <pc:sldMk cId="1435754743" sldId="408"/>
        </pc:sldMkLst>
      </pc:sldChg>
      <pc:sldChg chg="modSp add del mod">
        <pc:chgData name="Lopez, Dave (BGA Aftmkt)" userId="3efd0e50-8734-4d76-9241-14ad2ed554f7" providerId="ADAL" clId="{51A3CEF3-8D54-45CE-A1B6-ADB8BB107BF3}" dt="2024-11-07T17:26:59.997" v="2298" actId="47"/>
        <pc:sldMkLst>
          <pc:docMk/>
          <pc:sldMk cId="23445274" sldId="418"/>
        </pc:sldMkLst>
        <pc:spChg chg="mod">
          <ac:chgData name="Lopez, Dave (BGA Aftmkt)" userId="3efd0e50-8734-4d76-9241-14ad2ed554f7" providerId="ADAL" clId="{51A3CEF3-8D54-45CE-A1B6-ADB8BB107BF3}" dt="2024-11-06T22:20:39.807" v="423" actId="1076"/>
          <ac:spMkLst>
            <pc:docMk/>
            <pc:sldMk cId="23445274" sldId="418"/>
            <ac:spMk id="75" creationId="{7DA512D5-3D5C-484B-A16D-1AC57CE64F6A}"/>
          </ac:spMkLst>
        </pc:spChg>
      </pc:sldChg>
      <pc:sldChg chg="addSp modSp add mod">
        <pc:chgData name="Lopez, Dave (BGA Aftmkt)" userId="3efd0e50-8734-4d76-9241-14ad2ed554f7" providerId="ADAL" clId="{51A3CEF3-8D54-45CE-A1B6-ADB8BB107BF3}" dt="2024-11-07T16:48:28.271" v="1993" actId="20577"/>
        <pc:sldMkLst>
          <pc:docMk/>
          <pc:sldMk cId="3834879073" sldId="432"/>
        </pc:sldMkLst>
        <pc:spChg chg="mod">
          <ac:chgData name="Lopez, Dave (BGA Aftmkt)" userId="3efd0e50-8734-4d76-9241-14ad2ed554f7" providerId="ADAL" clId="{51A3CEF3-8D54-45CE-A1B6-ADB8BB107BF3}" dt="2024-11-07T15:02:56.854" v="1266" actId="20577"/>
          <ac:spMkLst>
            <pc:docMk/>
            <pc:sldMk cId="3834879073" sldId="432"/>
            <ac:spMk id="2" creationId="{36E949F1-5A52-4F0F-840A-722B463CF394}"/>
          </ac:spMkLst>
        </pc:spChg>
        <pc:spChg chg="mod">
          <ac:chgData name="Lopez, Dave (BGA Aftmkt)" userId="3efd0e50-8734-4d76-9241-14ad2ed554f7" providerId="ADAL" clId="{51A3CEF3-8D54-45CE-A1B6-ADB8BB107BF3}" dt="2024-11-07T16:48:28.271" v="1993" actId="20577"/>
          <ac:spMkLst>
            <pc:docMk/>
            <pc:sldMk cId="3834879073" sldId="432"/>
            <ac:spMk id="7" creationId="{12CCA05C-4438-7402-7D48-3AADB1FC1D45}"/>
          </ac:spMkLst>
        </pc:spChg>
        <pc:picChg chg="mod">
          <ac:chgData name="Lopez, Dave (BGA Aftmkt)" userId="3efd0e50-8734-4d76-9241-14ad2ed554f7" providerId="ADAL" clId="{51A3CEF3-8D54-45CE-A1B6-ADB8BB107BF3}" dt="2024-11-07T15:06:49.335" v="1363" actId="14100"/>
          <ac:picMkLst>
            <pc:docMk/>
            <pc:sldMk cId="3834879073" sldId="432"/>
            <ac:picMk id="4" creationId="{6D1E20F2-28EF-21D6-68F5-1668140B8725}"/>
          </ac:picMkLst>
        </pc:picChg>
        <pc:picChg chg="add mod ord">
          <ac:chgData name="Lopez, Dave (BGA Aftmkt)" userId="3efd0e50-8734-4d76-9241-14ad2ed554f7" providerId="ADAL" clId="{51A3CEF3-8D54-45CE-A1B6-ADB8BB107BF3}" dt="2024-11-07T15:06:57.207" v="1366" actId="1076"/>
          <ac:picMkLst>
            <pc:docMk/>
            <pc:sldMk cId="3834879073" sldId="432"/>
            <ac:picMk id="5" creationId="{11B22707-4CB9-2835-F8A1-6FB7BC168306}"/>
          </ac:picMkLst>
        </pc:picChg>
        <pc:picChg chg="mod">
          <ac:chgData name="Lopez, Dave (BGA Aftmkt)" userId="3efd0e50-8734-4d76-9241-14ad2ed554f7" providerId="ADAL" clId="{51A3CEF3-8D54-45CE-A1B6-ADB8BB107BF3}" dt="2024-11-07T15:06:30.504" v="1357" actId="14100"/>
          <ac:picMkLst>
            <pc:docMk/>
            <pc:sldMk cId="3834879073" sldId="432"/>
            <ac:picMk id="8" creationId="{DE18D38B-A710-FAC5-B1C2-3A9D49507956}"/>
          </ac:picMkLst>
        </pc:picChg>
      </pc:sldChg>
      <pc:sldChg chg="add del">
        <pc:chgData name="Lopez, Dave (BGA Aftmkt)" userId="3efd0e50-8734-4d76-9241-14ad2ed554f7" providerId="ADAL" clId="{51A3CEF3-8D54-45CE-A1B6-ADB8BB107BF3}" dt="2024-11-04T19:19:43.386" v="9" actId="47"/>
        <pc:sldMkLst>
          <pc:docMk/>
          <pc:sldMk cId="1566758303" sldId="437"/>
        </pc:sldMkLst>
      </pc:sldChg>
      <pc:sldChg chg="add del">
        <pc:chgData name="Lopez, Dave (BGA Aftmkt)" userId="3efd0e50-8734-4d76-9241-14ad2ed554f7" providerId="ADAL" clId="{51A3CEF3-8D54-45CE-A1B6-ADB8BB107BF3}" dt="2024-11-04T19:20:09.814" v="10" actId="47"/>
        <pc:sldMkLst>
          <pc:docMk/>
          <pc:sldMk cId="3772499405" sldId="483"/>
        </pc:sldMkLst>
      </pc:sldChg>
      <pc:sldChg chg="add del">
        <pc:chgData name="Lopez, Dave (BGA Aftmkt)" userId="3efd0e50-8734-4d76-9241-14ad2ed554f7" providerId="ADAL" clId="{51A3CEF3-8D54-45CE-A1B6-ADB8BB107BF3}" dt="2024-11-04T19:19:43.386" v="9" actId="47"/>
        <pc:sldMkLst>
          <pc:docMk/>
          <pc:sldMk cId="4099571000" sldId="484"/>
        </pc:sldMkLst>
      </pc:sldChg>
      <pc:sldChg chg="add del">
        <pc:chgData name="Lopez, Dave (BGA Aftmkt)" userId="3efd0e50-8734-4d76-9241-14ad2ed554f7" providerId="ADAL" clId="{51A3CEF3-8D54-45CE-A1B6-ADB8BB107BF3}" dt="2024-11-04T19:20:09.814" v="10" actId="47"/>
        <pc:sldMkLst>
          <pc:docMk/>
          <pc:sldMk cId="3900762330" sldId="529"/>
        </pc:sldMkLst>
      </pc:sldChg>
      <pc:sldChg chg="del">
        <pc:chgData name="Lopez, Dave (BGA Aftmkt)" userId="3efd0e50-8734-4d76-9241-14ad2ed554f7" providerId="ADAL" clId="{51A3CEF3-8D54-45CE-A1B6-ADB8BB107BF3}" dt="2024-11-04T19:21:56.228" v="19" actId="47"/>
        <pc:sldMkLst>
          <pc:docMk/>
          <pc:sldMk cId="2377663927" sldId="590"/>
        </pc:sldMkLst>
      </pc:sldChg>
      <pc:sldChg chg="del">
        <pc:chgData name="Lopez, Dave (BGA Aftmkt)" userId="3efd0e50-8734-4d76-9241-14ad2ed554f7" providerId="ADAL" clId="{51A3CEF3-8D54-45CE-A1B6-ADB8BB107BF3}" dt="2024-11-04T19:21:56.228" v="19" actId="47"/>
        <pc:sldMkLst>
          <pc:docMk/>
          <pc:sldMk cId="1605422520" sldId="592"/>
        </pc:sldMkLst>
      </pc:sldChg>
      <pc:sldChg chg="del">
        <pc:chgData name="Lopez, Dave (BGA Aftmkt)" userId="3efd0e50-8734-4d76-9241-14ad2ed554f7" providerId="ADAL" clId="{51A3CEF3-8D54-45CE-A1B6-ADB8BB107BF3}" dt="2024-11-04T19:21:56.228" v="19" actId="47"/>
        <pc:sldMkLst>
          <pc:docMk/>
          <pc:sldMk cId="3046953455" sldId="597"/>
        </pc:sldMkLst>
      </pc:sldChg>
      <pc:sldChg chg="del">
        <pc:chgData name="Lopez, Dave (BGA Aftmkt)" userId="3efd0e50-8734-4d76-9241-14ad2ed554f7" providerId="ADAL" clId="{51A3CEF3-8D54-45CE-A1B6-ADB8BB107BF3}" dt="2024-11-04T19:21:56.228" v="19" actId="47"/>
        <pc:sldMkLst>
          <pc:docMk/>
          <pc:sldMk cId="1467908525" sldId="725"/>
        </pc:sldMkLst>
      </pc:sldChg>
      <pc:sldChg chg="del">
        <pc:chgData name="Lopez, Dave (BGA Aftmkt)" userId="3efd0e50-8734-4d76-9241-14ad2ed554f7" providerId="ADAL" clId="{51A3CEF3-8D54-45CE-A1B6-ADB8BB107BF3}" dt="2024-11-04T19:21:56.228" v="19" actId="47"/>
        <pc:sldMkLst>
          <pc:docMk/>
          <pc:sldMk cId="3270640215" sldId="1738"/>
        </pc:sldMkLst>
      </pc:sldChg>
      <pc:sldChg chg="del">
        <pc:chgData name="Lopez, Dave (BGA Aftmkt)" userId="3efd0e50-8734-4d76-9241-14ad2ed554f7" providerId="ADAL" clId="{51A3CEF3-8D54-45CE-A1B6-ADB8BB107BF3}" dt="2024-11-04T19:21:56.228" v="19" actId="47"/>
        <pc:sldMkLst>
          <pc:docMk/>
          <pc:sldMk cId="749211141" sldId="1758"/>
        </pc:sldMkLst>
      </pc:sldChg>
      <pc:sldChg chg="del">
        <pc:chgData name="Lopez, Dave (BGA Aftmkt)" userId="3efd0e50-8734-4d76-9241-14ad2ed554f7" providerId="ADAL" clId="{51A3CEF3-8D54-45CE-A1B6-ADB8BB107BF3}" dt="2024-11-04T19:21:56.228" v="19" actId="47"/>
        <pc:sldMkLst>
          <pc:docMk/>
          <pc:sldMk cId="1203362038" sldId="3575"/>
        </pc:sldMkLst>
      </pc:sldChg>
      <pc:sldChg chg="del">
        <pc:chgData name="Lopez, Dave (BGA Aftmkt)" userId="3efd0e50-8734-4d76-9241-14ad2ed554f7" providerId="ADAL" clId="{51A3CEF3-8D54-45CE-A1B6-ADB8BB107BF3}" dt="2024-11-04T19:21:56.228" v="19" actId="47"/>
        <pc:sldMkLst>
          <pc:docMk/>
          <pc:sldMk cId="121061497" sldId="3576"/>
        </pc:sldMkLst>
      </pc:sldChg>
      <pc:sldChg chg="add del">
        <pc:chgData name="Lopez, Dave (BGA Aftmkt)" userId="3efd0e50-8734-4d76-9241-14ad2ed554f7" providerId="ADAL" clId="{51A3CEF3-8D54-45CE-A1B6-ADB8BB107BF3}" dt="2024-11-04T20:35:37.823" v="58" actId="47"/>
        <pc:sldMkLst>
          <pc:docMk/>
          <pc:sldMk cId="1342209583" sldId="26353"/>
        </pc:sldMkLst>
      </pc:sldChg>
      <pc:sldChg chg="add del">
        <pc:chgData name="Lopez, Dave (BGA Aftmkt)" userId="3efd0e50-8734-4d76-9241-14ad2ed554f7" providerId="ADAL" clId="{51A3CEF3-8D54-45CE-A1B6-ADB8BB107BF3}" dt="2024-11-04T19:20:09.814" v="10" actId="47"/>
        <pc:sldMkLst>
          <pc:docMk/>
          <pc:sldMk cId="3902658254" sldId="1830142917"/>
        </pc:sldMkLst>
      </pc:sldChg>
      <pc:sldChg chg="modSp add del mod ord">
        <pc:chgData name="Lopez, Dave (BGA Aftmkt)" userId="3efd0e50-8734-4d76-9241-14ad2ed554f7" providerId="ADAL" clId="{51A3CEF3-8D54-45CE-A1B6-ADB8BB107BF3}" dt="2024-11-07T15:53:39.662" v="1810" actId="6549"/>
        <pc:sldMkLst>
          <pc:docMk/>
          <pc:sldMk cId="3088391773" sldId="1830142920"/>
        </pc:sldMkLst>
        <pc:spChg chg="mod">
          <ac:chgData name="Lopez, Dave (BGA Aftmkt)" userId="3efd0e50-8734-4d76-9241-14ad2ed554f7" providerId="ADAL" clId="{51A3CEF3-8D54-45CE-A1B6-ADB8BB107BF3}" dt="2024-11-07T15:53:39.662" v="1810" actId="6549"/>
          <ac:spMkLst>
            <pc:docMk/>
            <pc:sldMk cId="3088391773" sldId="1830142920"/>
            <ac:spMk id="2" creationId="{C8C59A88-40BC-498F-A496-230917BC7A1C}"/>
          </ac:spMkLst>
        </pc:spChg>
        <pc:spChg chg="mod">
          <ac:chgData name="Lopez, Dave (BGA Aftmkt)" userId="3efd0e50-8734-4d76-9241-14ad2ed554f7" providerId="ADAL" clId="{51A3CEF3-8D54-45CE-A1B6-ADB8BB107BF3}" dt="2024-11-04T20:18:02.390" v="55" actId="20577"/>
          <ac:spMkLst>
            <pc:docMk/>
            <pc:sldMk cId="3088391773" sldId="1830142920"/>
            <ac:spMk id="6" creationId="{D8BB5814-E7E9-EA25-D59D-5122A43A092C}"/>
          </ac:spMkLst>
        </pc:spChg>
      </pc:sldChg>
      <pc:sldChg chg="del ord">
        <pc:chgData name="Lopez, Dave (BGA Aftmkt)" userId="3efd0e50-8734-4d76-9241-14ad2ed554f7" providerId="ADAL" clId="{51A3CEF3-8D54-45CE-A1B6-ADB8BB107BF3}" dt="2024-11-04T19:21:56.228" v="19" actId="47"/>
        <pc:sldMkLst>
          <pc:docMk/>
          <pc:sldMk cId="2303405088" sldId="1830142921"/>
        </pc:sldMkLst>
      </pc:sldChg>
      <pc:sldChg chg="del">
        <pc:chgData name="Lopez, Dave (BGA Aftmkt)" userId="3efd0e50-8734-4d76-9241-14ad2ed554f7" providerId="ADAL" clId="{51A3CEF3-8D54-45CE-A1B6-ADB8BB107BF3}" dt="2024-11-04T19:21:56.228" v="19" actId="47"/>
        <pc:sldMkLst>
          <pc:docMk/>
          <pc:sldMk cId="3837312779" sldId="1830142922"/>
        </pc:sldMkLst>
      </pc:sldChg>
      <pc:sldChg chg="del">
        <pc:chgData name="Lopez, Dave (BGA Aftmkt)" userId="3efd0e50-8734-4d76-9241-14ad2ed554f7" providerId="ADAL" clId="{51A3CEF3-8D54-45CE-A1B6-ADB8BB107BF3}" dt="2024-11-04T19:21:56.228" v="19" actId="47"/>
        <pc:sldMkLst>
          <pc:docMk/>
          <pc:sldMk cId="1123592352" sldId="1830142924"/>
        </pc:sldMkLst>
      </pc:sldChg>
      <pc:sldChg chg="del">
        <pc:chgData name="Lopez, Dave (BGA Aftmkt)" userId="3efd0e50-8734-4d76-9241-14ad2ed554f7" providerId="ADAL" clId="{51A3CEF3-8D54-45CE-A1B6-ADB8BB107BF3}" dt="2024-11-04T19:21:56.228" v="19" actId="47"/>
        <pc:sldMkLst>
          <pc:docMk/>
          <pc:sldMk cId="4262342077" sldId="1830142925"/>
        </pc:sldMkLst>
      </pc:sldChg>
      <pc:sldChg chg="del">
        <pc:chgData name="Lopez, Dave (BGA Aftmkt)" userId="3efd0e50-8734-4d76-9241-14ad2ed554f7" providerId="ADAL" clId="{51A3CEF3-8D54-45CE-A1B6-ADB8BB107BF3}" dt="2024-11-04T19:21:56.228" v="19" actId="47"/>
        <pc:sldMkLst>
          <pc:docMk/>
          <pc:sldMk cId="2504697865" sldId="1830142926"/>
        </pc:sldMkLst>
      </pc:sldChg>
      <pc:sldChg chg="del">
        <pc:chgData name="Lopez, Dave (BGA Aftmkt)" userId="3efd0e50-8734-4d76-9241-14ad2ed554f7" providerId="ADAL" clId="{51A3CEF3-8D54-45CE-A1B6-ADB8BB107BF3}" dt="2024-11-04T19:21:56.228" v="19" actId="47"/>
        <pc:sldMkLst>
          <pc:docMk/>
          <pc:sldMk cId="2583607810" sldId="1830142927"/>
        </pc:sldMkLst>
      </pc:sldChg>
      <pc:sldChg chg="del">
        <pc:chgData name="Lopez, Dave (BGA Aftmkt)" userId="3efd0e50-8734-4d76-9241-14ad2ed554f7" providerId="ADAL" clId="{51A3CEF3-8D54-45CE-A1B6-ADB8BB107BF3}" dt="2024-11-04T19:21:56.228" v="19" actId="47"/>
        <pc:sldMkLst>
          <pc:docMk/>
          <pc:sldMk cId="4226629323" sldId="1830142929"/>
        </pc:sldMkLst>
      </pc:sldChg>
      <pc:sldChg chg="add del">
        <pc:chgData name="Lopez, Dave (BGA Aftmkt)" userId="3efd0e50-8734-4d76-9241-14ad2ed554f7" providerId="ADAL" clId="{51A3CEF3-8D54-45CE-A1B6-ADB8BB107BF3}" dt="2024-11-04T19:20:09.814" v="10" actId="47"/>
        <pc:sldMkLst>
          <pc:docMk/>
          <pc:sldMk cId="1115408349" sldId="2113418033"/>
        </pc:sldMkLst>
      </pc:sldChg>
      <pc:sldChg chg="add del">
        <pc:chgData name="Lopez, Dave (BGA Aftmkt)" userId="3efd0e50-8734-4d76-9241-14ad2ed554f7" providerId="ADAL" clId="{51A3CEF3-8D54-45CE-A1B6-ADB8BB107BF3}" dt="2024-11-04T19:17:43.575" v="5" actId="47"/>
        <pc:sldMkLst>
          <pc:docMk/>
          <pc:sldMk cId="2080972839" sldId="2142533122"/>
        </pc:sldMkLst>
      </pc:sldChg>
      <pc:sldChg chg="del">
        <pc:chgData name="Lopez, Dave (BGA Aftmkt)" userId="3efd0e50-8734-4d76-9241-14ad2ed554f7" providerId="ADAL" clId="{51A3CEF3-8D54-45CE-A1B6-ADB8BB107BF3}" dt="2024-11-04T19:21:56.228" v="19" actId="47"/>
        <pc:sldMkLst>
          <pc:docMk/>
          <pc:sldMk cId="1730720162" sldId="2147137832"/>
        </pc:sldMkLst>
      </pc:sldChg>
      <pc:sldChg chg="del">
        <pc:chgData name="Lopez, Dave (BGA Aftmkt)" userId="3efd0e50-8734-4d76-9241-14ad2ed554f7" providerId="ADAL" clId="{51A3CEF3-8D54-45CE-A1B6-ADB8BB107BF3}" dt="2024-11-04T19:21:56.228" v="19" actId="47"/>
        <pc:sldMkLst>
          <pc:docMk/>
          <pc:sldMk cId="236874065" sldId="2147137833"/>
        </pc:sldMkLst>
      </pc:sldChg>
      <pc:sldChg chg="del">
        <pc:chgData name="Lopez, Dave (BGA Aftmkt)" userId="3efd0e50-8734-4d76-9241-14ad2ed554f7" providerId="ADAL" clId="{51A3CEF3-8D54-45CE-A1B6-ADB8BB107BF3}" dt="2024-11-04T19:21:56.228" v="19" actId="47"/>
        <pc:sldMkLst>
          <pc:docMk/>
          <pc:sldMk cId="1059249483" sldId="2147137841"/>
        </pc:sldMkLst>
      </pc:sldChg>
      <pc:sldChg chg="del">
        <pc:chgData name="Lopez, Dave (BGA Aftmkt)" userId="3efd0e50-8734-4d76-9241-14ad2ed554f7" providerId="ADAL" clId="{51A3CEF3-8D54-45CE-A1B6-ADB8BB107BF3}" dt="2024-11-04T19:21:56.228" v="19" actId="47"/>
        <pc:sldMkLst>
          <pc:docMk/>
          <pc:sldMk cId="2221246304" sldId="2147137842"/>
        </pc:sldMkLst>
      </pc:sldChg>
      <pc:sldChg chg="del">
        <pc:chgData name="Lopez, Dave (BGA Aftmkt)" userId="3efd0e50-8734-4d76-9241-14ad2ed554f7" providerId="ADAL" clId="{51A3CEF3-8D54-45CE-A1B6-ADB8BB107BF3}" dt="2024-11-04T19:21:56.228" v="19" actId="47"/>
        <pc:sldMkLst>
          <pc:docMk/>
          <pc:sldMk cId="1812045469" sldId="2147137843"/>
        </pc:sldMkLst>
      </pc:sldChg>
      <pc:sldChg chg="add del">
        <pc:chgData name="Lopez, Dave (BGA Aftmkt)" userId="3efd0e50-8734-4d76-9241-14ad2ed554f7" providerId="ADAL" clId="{51A3CEF3-8D54-45CE-A1B6-ADB8BB107BF3}" dt="2024-11-04T19:20:44.599" v="17" actId="47"/>
        <pc:sldMkLst>
          <pc:docMk/>
          <pc:sldMk cId="163389122" sldId="2147138156"/>
        </pc:sldMkLst>
      </pc:sldChg>
      <pc:sldChg chg="add del">
        <pc:chgData name="Lopez, Dave (BGA Aftmkt)" userId="3efd0e50-8734-4d76-9241-14ad2ed554f7" providerId="ADAL" clId="{51A3CEF3-8D54-45CE-A1B6-ADB8BB107BF3}" dt="2024-11-04T19:19:43.386" v="9" actId="47"/>
        <pc:sldMkLst>
          <pc:docMk/>
          <pc:sldMk cId="2013878636" sldId="2147374230"/>
        </pc:sldMkLst>
      </pc:sldChg>
      <pc:sldChg chg="add del">
        <pc:chgData name="Lopez, Dave (BGA Aftmkt)" userId="3efd0e50-8734-4d76-9241-14ad2ed554f7" providerId="ADAL" clId="{51A3CEF3-8D54-45CE-A1B6-ADB8BB107BF3}" dt="2024-11-04T19:19:43.386" v="9" actId="47"/>
        <pc:sldMkLst>
          <pc:docMk/>
          <pc:sldMk cId="2861157462" sldId="2147374235"/>
        </pc:sldMkLst>
      </pc:sldChg>
      <pc:sldChg chg="add del">
        <pc:chgData name="Lopez, Dave (BGA Aftmkt)" userId="3efd0e50-8734-4d76-9241-14ad2ed554f7" providerId="ADAL" clId="{51A3CEF3-8D54-45CE-A1B6-ADB8BB107BF3}" dt="2024-11-04T19:19:43.386" v="9" actId="47"/>
        <pc:sldMkLst>
          <pc:docMk/>
          <pc:sldMk cId="2366924721" sldId="2147374236"/>
        </pc:sldMkLst>
      </pc:sldChg>
      <pc:sldChg chg="del">
        <pc:chgData name="Lopez, Dave (BGA Aftmkt)" userId="3efd0e50-8734-4d76-9241-14ad2ed554f7" providerId="ADAL" clId="{51A3CEF3-8D54-45CE-A1B6-ADB8BB107BF3}" dt="2024-11-04T19:21:56.228" v="19" actId="47"/>
        <pc:sldMkLst>
          <pc:docMk/>
          <pc:sldMk cId="951067191" sldId="2147377568"/>
        </pc:sldMkLst>
      </pc:sldChg>
      <pc:sldChg chg="del">
        <pc:chgData name="Lopez, Dave (BGA Aftmkt)" userId="3efd0e50-8734-4d76-9241-14ad2ed554f7" providerId="ADAL" clId="{51A3CEF3-8D54-45CE-A1B6-ADB8BB107BF3}" dt="2024-11-04T19:21:56.228" v="19" actId="47"/>
        <pc:sldMkLst>
          <pc:docMk/>
          <pc:sldMk cId="2965444445" sldId="2147377571"/>
        </pc:sldMkLst>
      </pc:sldChg>
      <pc:sldChg chg="del">
        <pc:chgData name="Lopez, Dave (BGA Aftmkt)" userId="3efd0e50-8734-4d76-9241-14ad2ed554f7" providerId="ADAL" clId="{51A3CEF3-8D54-45CE-A1B6-ADB8BB107BF3}" dt="2024-11-04T19:21:56.228" v="19" actId="47"/>
        <pc:sldMkLst>
          <pc:docMk/>
          <pc:sldMk cId="184547819" sldId="2147377574"/>
        </pc:sldMkLst>
      </pc:sldChg>
      <pc:sldChg chg="del">
        <pc:chgData name="Lopez, Dave (BGA Aftmkt)" userId="3efd0e50-8734-4d76-9241-14ad2ed554f7" providerId="ADAL" clId="{51A3CEF3-8D54-45CE-A1B6-ADB8BB107BF3}" dt="2024-11-04T19:21:56.228" v="19" actId="47"/>
        <pc:sldMkLst>
          <pc:docMk/>
          <pc:sldMk cId="996486448" sldId="2147377576"/>
        </pc:sldMkLst>
      </pc:sldChg>
      <pc:sldChg chg="del">
        <pc:chgData name="Lopez, Dave (BGA Aftmkt)" userId="3efd0e50-8734-4d76-9241-14ad2ed554f7" providerId="ADAL" clId="{51A3CEF3-8D54-45CE-A1B6-ADB8BB107BF3}" dt="2024-11-04T19:21:56.228" v="19" actId="47"/>
        <pc:sldMkLst>
          <pc:docMk/>
          <pc:sldMk cId="2505895436" sldId="2147377577"/>
        </pc:sldMkLst>
      </pc:sldChg>
      <pc:sldChg chg="add del">
        <pc:chgData name="Lopez, Dave (BGA Aftmkt)" userId="3efd0e50-8734-4d76-9241-14ad2ed554f7" providerId="ADAL" clId="{51A3CEF3-8D54-45CE-A1B6-ADB8BB107BF3}" dt="2024-11-04T19:20:09.814" v="10" actId="47"/>
        <pc:sldMkLst>
          <pc:docMk/>
          <pc:sldMk cId="3094891033" sldId="2147470579"/>
        </pc:sldMkLst>
      </pc:sldChg>
      <pc:sldChg chg="add del">
        <pc:chgData name="Lopez, Dave (BGA Aftmkt)" userId="3efd0e50-8734-4d76-9241-14ad2ed554f7" providerId="ADAL" clId="{51A3CEF3-8D54-45CE-A1B6-ADB8BB107BF3}" dt="2024-11-04T19:18:03.314" v="6" actId="47"/>
        <pc:sldMkLst>
          <pc:docMk/>
          <pc:sldMk cId="3026121025" sldId="2147471466"/>
        </pc:sldMkLst>
      </pc:sldChg>
      <pc:sldChg chg="add del">
        <pc:chgData name="Lopez, Dave (BGA Aftmkt)" userId="3efd0e50-8734-4d76-9241-14ad2ed554f7" providerId="ADAL" clId="{51A3CEF3-8D54-45CE-A1B6-ADB8BB107BF3}" dt="2024-11-04T19:20:31.103" v="12" actId="47"/>
        <pc:sldMkLst>
          <pc:docMk/>
          <pc:sldMk cId="2880820376" sldId="2147471531"/>
        </pc:sldMkLst>
      </pc:sldChg>
      <pc:sldChg chg="add del">
        <pc:chgData name="Lopez, Dave (BGA Aftmkt)" userId="3efd0e50-8734-4d76-9241-14ad2ed554f7" providerId="ADAL" clId="{51A3CEF3-8D54-45CE-A1B6-ADB8BB107BF3}" dt="2024-11-04T19:18:34.951" v="8" actId="47"/>
        <pc:sldMkLst>
          <pc:docMk/>
          <pc:sldMk cId="1036918354" sldId="2147471532"/>
        </pc:sldMkLst>
      </pc:sldChg>
      <pc:sldChg chg="add del">
        <pc:chgData name="Lopez, Dave (BGA Aftmkt)" userId="3efd0e50-8734-4d76-9241-14ad2ed554f7" providerId="ADAL" clId="{51A3CEF3-8D54-45CE-A1B6-ADB8BB107BF3}" dt="2024-11-04T19:18:22.503" v="7" actId="47"/>
        <pc:sldMkLst>
          <pc:docMk/>
          <pc:sldMk cId="3707779131" sldId="2147471568"/>
        </pc:sldMkLst>
      </pc:sldChg>
      <pc:sldChg chg="add del">
        <pc:chgData name="Lopez, Dave (BGA Aftmkt)" userId="3efd0e50-8734-4d76-9241-14ad2ed554f7" providerId="ADAL" clId="{51A3CEF3-8D54-45CE-A1B6-ADB8BB107BF3}" dt="2024-11-04T19:18:03.314" v="6" actId="47"/>
        <pc:sldMkLst>
          <pc:docMk/>
          <pc:sldMk cId="1923387912" sldId="2147477040"/>
        </pc:sldMkLst>
      </pc:sldChg>
      <pc:sldChg chg="add del">
        <pc:chgData name="Lopez, Dave (BGA Aftmkt)" userId="3efd0e50-8734-4d76-9241-14ad2ed554f7" providerId="ADAL" clId="{51A3CEF3-8D54-45CE-A1B6-ADB8BB107BF3}" dt="2024-11-04T19:20:09.814" v="10" actId="47"/>
        <pc:sldMkLst>
          <pc:docMk/>
          <pc:sldMk cId="1282455527" sldId="2147477042"/>
        </pc:sldMkLst>
      </pc:sldChg>
      <pc:sldChg chg="add del">
        <pc:chgData name="Lopez, Dave (BGA Aftmkt)" userId="3efd0e50-8734-4d76-9241-14ad2ed554f7" providerId="ADAL" clId="{51A3CEF3-8D54-45CE-A1B6-ADB8BB107BF3}" dt="2024-11-04T19:20:09.814" v="10" actId="47"/>
        <pc:sldMkLst>
          <pc:docMk/>
          <pc:sldMk cId="2735076999" sldId="2147477126"/>
        </pc:sldMkLst>
      </pc:sldChg>
      <pc:sldChg chg="del">
        <pc:chgData name="Lopez, Dave (BGA Aftmkt)" userId="3efd0e50-8734-4d76-9241-14ad2ed554f7" providerId="ADAL" clId="{51A3CEF3-8D54-45CE-A1B6-ADB8BB107BF3}" dt="2024-11-04T19:21:56.228" v="19" actId="47"/>
        <pc:sldMkLst>
          <pc:docMk/>
          <pc:sldMk cId="770032711" sldId="2147478783"/>
        </pc:sldMkLst>
      </pc:sldChg>
      <pc:sldChg chg="del">
        <pc:chgData name="Lopez, Dave (BGA Aftmkt)" userId="3efd0e50-8734-4d76-9241-14ad2ed554f7" providerId="ADAL" clId="{51A3CEF3-8D54-45CE-A1B6-ADB8BB107BF3}" dt="2024-11-04T19:21:56.228" v="19" actId="47"/>
        <pc:sldMkLst>
          <pc:docMk/>
          <pc:sldMk cId="3650063683" sldId="2147478788"/>
        </pc:sldMkLst>
      </pc:sldChg>
      <pc:sldChg chg="del">
        <pc:chgData name="Lopez, Dave (BGA Aftmkt)" userId="3efd0e50-8734-4d76-9241-14ad2ed554f7" providerId="ADAL" clId="{51A3CEF3-8D54-45CE-A1B6-ADB8BB107BF3}" dt="2024-11-04T19:21:56.228" v="19" actId="47"/>
        <pc:sldMkLst>
          <pc:docMk/>
          <pc:sldMk cId="2631401759" sldId="2147478820"/>
        </pc:sldMkLst>
      </pc:sldChg>
      <pc:sldChg chg="del">
        <pc:chgData name="Lopez, Dave (BGA Aftmkt)" userId="3efd0e50-8734-4d76-9241-14ad2ed554f7" providerId="ADAL" clId="{51A3CEF3-8D54-45CE-A1B6-ADB8BB107BF3}" dt="2024-11-04T19:21:56.228" v="19" actId="47"/>
        <pc:sldMkLst>
          <pc:docMk/>
          <pc:sldMk cId="3166635038" sldId="2147478822"/>
        </pc:sldMkLst>
      </pc:sldChg>
      <pc:sldChg chg="add del">
        <pc:chgData name="Lopez, Dave (BGA Aftmkt)" userId="3efd0e50-8734-4d76-9241-14ad2ed554f7" providerId="ADAL" clId="{51A3CEF3-8D54-45CE-A1B6-ADB8BB107BF3}" dt="2024-11-04T19:17:43.575" v="5" actId="47"/>
        <pc:sldMkLst>
          <pc:docMk/>
          <pc:sldMk cId="875127256" sldId="2147479167"/>
        </pc:sldMkLst>
      </pc:sldChg>
      <pc:sldChg chg="del">
        <pc:chgData name="Lopez, Dave (BGA Aftmkt)" userId="3efd0e50-8734-4d76-9241-14ad2ed554f7" providerId="ADAL" clId="{51A3CEF3-8D54-45CE-A1B6-ADB8BB107BF3}" dt="2024-11-04T19:21:56.228" v="19" actId="47"/>
        <pc:sldMkLst>
          <pc:docMk/>
          <pc:sldMk cId="2364512525" sldId="2147479170"/>
        </pc:sldMkLst>
      </pc:sldChg>
      <pc:sldChg chg="del">
        <pc:chgData name="Lopez, Dave (BGA Aftmkt)" userId="3efd0e50-8734-4d76-9241-14ad2ed554f7" providerId="ADAL" clId="{51A3CEF3-8D54-45CE-A1B6-ADB8BB107BF3}" dt="2024-11-04T19:21:56.228" v="19" actId="47"/>
        <pc:sldMkLst>
          <pc:docMk/>
          <pc:sldMk cId="799870101" sldId="2147479171"/>
        </pc:sldMkLst>
      </pc:sldChg>
      <pc:sldChg chg="del">
        <pc:chgData name="Lopez, Dave (BGA Aftmkt)" userId="3efd0e50-8734-4d76-9241-14ad2ed554f7" providerId="ADAL" clId="{51A3CEF3-8D54-45CE-A1B6-ADB8BB107BF3}" dt="2024-11-04T19:21:56.228" v="19" actId="47"/>
        <pc:sldMkLst>
          <pc:docMk/>
          <pc:sldMk cId="2600049051" sldId="2147479182"/>
        </pc:sldMkLst>
      </pc:sldChg>
      <pc:sldChg chg="del">
        <pc:chgData name="Lopez, Dave (BGA Aftmkt)" userId="3efd0e50-8734-4d76-9241-14ad2ed554f7" providerId="ADAL" clId="{51A3CEF3-8D54-45CE-A1B6-ADB8BB107BF3}" dt="2024-11-04T19:21:56.228" v="19" actId="47"/>
        <pc:sldMkLst>
          <pc:docMk/>
          <pc:sldMk cId="1684470627" sldId="2147479185"/>
        </pc:sldMkLst>
      </pc:sldChg>
      <pc:sldChg chg="del">
        <pc:chgData name="Lopez, Dave (BGA Aftmkt)" userId="3efd0e50-8734-4d76-9241-14ad2ed554f7" providerId="ADAL" clId="{51A3CEF3-8D54-45CE-A1B6-ADB8BB107BF3}" dt="2024-11-04T19:21:56.228" v="19" actId="47"/>
        <pc:sldMkLst>
          <pc:docMk/>
          <pc:sldMk cId="2659393131" sldId="2147479186"/>
        </pc:sldMkLst>
      </pc:sldChg>
      <pc:sldChg chg="del">
        <pc:chgData name="Lopez, Dave (BGA Aftmkt)" userId="3efd0e50-8734-4d76-9241-14ad2ed554f7" providerId="ADAL" clId="{51A3CEF3-8D54-45CE-A1B6-ADB8BB107BF3}" dt="2024-11-04T19:21:56.228" v="19" actId="47"/>
        <pc:sldMkLst>
          <pc:docMk/>
          <pc:sldMk cId="3784486456" sldId="2147479187"/>
        </pc:sldMkLst>
      </pc:sldChg>
      <pc:sldChg chg="del">
        <pc:chgData name="Lopez, Dave (BGA Aftmkt)" userId="3efd0e50-8734-4d76-9241-14ad2ed554f7" providerId="ADAL" clId="{51A3CEF3-8D54-45CE-A1B6-ADB8BB107BF3}" dt="2024-11-04T19:21:56.228" v="19" actId="47"/>
        <pc:sldMkLst>
          <pc:docMk/>
          <pc:sldMk cId="3457272073" sldId="2147479189"/>
        </pc:sldMkLst>
      </pc:sldChg>
      <pc:sldChg chg="del">
        <pc:chgData name="Lopez, Dave (BGA Aftmkt)" userId="3efd0e50-8734-4d76-9241-14ad2ed554f7" providerId="ADAL" clId="{51A3CEF3-8D54-45CE-A1B6-ADB8BB107BF3}" dt="2024-11-04T19:21:56.228" v="19" actId="47"/>
        <pc:sldMkLst>
          <pc:docMk/>
          <pc:sldMk cId="2524070238" sldId="2147479191"/>
        </pc:sldMkLst>
      </pc:sldChg>
      <pc:sldChg chg="add del">
        <pc:chgData name="Lopez, Dave (BGA Aftmkt)" userId="3efd0e50-8734-4d76-9241-14ad2ed554f7" providerId="ADAL" clId="{51A3CEF3-8D54-45CE-A1B6-ADB8BB107BF3}" dt="2024-11-04T19:18:03.314" v="6" actId="47"/>
        <pc:sldMkLst>
          <pc:docMk/>
          <pc:sldMk cId="2764833878" sldId="2147479237"/>
        </pc:sldMkLst>
      </pc:sldChg>
      <pc:sldChg chg="add del">
        <pc:chgData name="Lopez, Dave (BGA Aftmkt)" userId="3efd0e50-8734-4d76-9241-14ad2ed554f7" providerId="ADAL" clId="{51A3CEF3-8D54-45CE-A1B6-ADB8BB107BF3}" dt="2024-11-05T00:19:25.064" v="264" actId="47"/>
        <pc:sldMkLst>
          <pc:docMk/>
          <pc:sldMk cId="2422006621" sldId="2147479443"/>
        </pc:sldMkLst>
      </pc:sldChg>
      <pc:sldChg chg="add del">
        <pc:chgData name="Lopez, Dave (BGA Aftmkt)" userId="3efd0e50-8734-4d76-9241-14ad2ed554f7" providerId="ADAL" clId="{51A3CEF3-8D54-45CE-A1B6-ADB8BB107BF3}" dt="2024-11-04T19:20:09.814" v="10" actId="47"/>
        <pc:sldMkLst>
          <pc:docMk/>
          <pc:sldMk cId="1184270491" sldId="2147479464"/>
        </pc:sldMkLst>
      </pc:sldChg>
      <pc:sldChg chg="add del">
        <pc:chgData name="Lopez, Dave (BGA Aftmkt)" userId="3efd0e50-8734-4d76-9241-14ad2ed554f7" providerId="ADAL" clId="{51A3CEF3-8D54-45CE-A1B6-ADB8BB107BF3}" dt="2024-11-04T19:20:09.814" v="10" actId="47"/>
        <pc:sldMkLst>
          <pc:docMk/>
          <pc:sldMk cId="2965635793" sldId="2147479466"/>
        </pc:sldMkLst>
      </pc:sldChg>
      <pc:sldChg chg="add del">
        <pc:chgData name="Lopez, Dave (BGA Aftmkt)" userId="3efd0e50-8734-4d76-9241-14ad2ed554f7" providerId="ADAL" clId="{51A3CEF3-8D54-45CE-A1B6-ADB8BB107BF3}" dt="2024-11-04T19:20:09.814" v="10" actId="47"/>
        <pc:sldMkLst>
          <pc:docMk/>
          <pc:sldMk cId="2900038770" sldId="2147479467"/>
        </pc:sldMkLst>
      </pc:sldChg>
      <pc:sldChg chg="add del">
        <pc:chgData name="Lopez, Dave (BGA Aftmkt)" userId="3efd0e50-8734-4d76-9241-14ad2ed554f7" providerId="ADAL" clId="{51A3CEF3-8D54-45CE-A1B6-ADB8BB107BF3}" dt="2024-11-04T19:20:09.814" v="10" actId="47"/>
        <pc:sldMkLst>
          <pc:docMk/>
          <pc:sldMk cId="963115241" sldId="2147479470"/>
        </pc:sldMkLst>
      </pc:sldChg>
      <pc:sldChg chg="add del">
        <pc:chgData name="Lopez, Dave (BGA Aftmkt)" userId="3efd0e50-8734-4d76-9241-14ad2ed554f7" providerId="ADAL" clId="{51A3CEF3-8D54-45CE-A1B6-ADB8BB107BF3}" dt="2024-11-04T19:20:09.814" v="10" actId="47"/>
        <pc:sldMkLst>
          <pc:docMk/>
          <pc:sldMk cId="2175385063" sldId="2147479471"/>
        </pc:sldMkLst>
      </pc:sldChg>
      <pc:sldChg chg="add del">
        <pc:chgData name="Lopez, Dave (BGA Aftmkt)" userId="3efd0e50-8734-4d76-9241-14ad2ed554f7" providerId="ADAL" clId="{51A3CEF3-8D54-45CE-A1B6-ADB8BB107BF3}" dt="2024-11-04T19:17:43.575" v="5" actId="47"/>
        <pc:sldMkLst>
          <pc:docMk/>
          <pc:sldMk cId="3164710007" sldId="2147480200"/>
        </pc:sldMkLst>
      </pc:sldChg>
      <pc:sldChg chg="add del">
        <pc:chgData name="Lopez, Dave (BGA Aftmkt)" userId="3efd0e50-8734-4d76-9241-14ad2ed554f7" providerId="ADAL" clId="{51A3CEF3-8D54-45CE-A1B6-ADB8BB107BF3}" dt="2024-11-04T19:17:43.575" v="5" actId="47"/>
        <pc:sldMkLst>
          <pc:docMk/>
          <pc:sldMk cId="375534502" sldId="2147480201"/>
        </pc:sldMkLst>
      </pc:sldChg>
      <pc:sldChg chg="add del">
        <pc:chgData name="Lopez, Dave (BGA Aftmkt)" userId="3efd0e50-8734-4d76-9241-14ad2ed554f7" providerId="ADAL" clId="{51A3CEF3-8D54-45CE-A1B6-ADB8BB107BF3}" dt="2024-11-04T19:17:43.575" v="5" actId="47"/>
        <pc:sldMkLst>
          <pc:docMk/>
          <pc:sldMk cId="4116826533" sldId="2147480204"/>
        </pc:sldMkLst>
      </pc:sldChg>
      <pc:sldChg chg="add del">
        <pc:chgData name="Lopez, Dave (BGA Aftmkt)" userId="3efd0e50-8734-4d76-9241-14ad2ed554f7" providerId="ADAL" clId="{51A3CEF3-8D54-45CE-A1B6-ADB8BB107BF3}" dt="2024-11-04T19:17:43.575" v="5" actId="47"/>
        <pc:sldMkLst>
          <pc:docMk/>
          <pc:sldMk cId="3847555284" sldId="2147480205"/>
        </pc:sldMkLst>
      </pc:sldChg>
      <pc:sldChg chg="add del">
        <pc:chgData name="Lopez, Dave (BGA Aftmkt)" userId="3efd0e50-8734-4d76-9241-14ad2ed554f7" providerId="ADAL" clId="{51A3CEF3-8D54-45CE-A1B6-ADB8BB107BF3}" dt="2024-11-04T19:18:22.503" v="7" actId="47"/>
        <pc:sldMkLst>
          <pc:docMk/>
          <pc:sldMk cId="1350770911" sldId="2147480452"/>
        </pc:sldMkLst>
      </pc:sldChg>
      <pc:sldChg chg="add del">
        <pc:chgData name="Lopez, Dave (BGA Aftmkt)" userId="3efd0e50-8734-4d76-9241-14ad2ed554f7" providerId="ADAL" clId="{51A3CEF3-8D54-45CE-A1B6-ADB8BB107BF3}" dt="2024-11-04T19:20:14.211" v="11" actId="47"/>
        <pc:sldMkLst>
          <pc:docMk/>
          <pc:sldMk cId="2789069351" sldId="2147480454"/>
        </pc:sldMkLst>
      </pc:sldChg>
      <pc:sldChg chg="add del">
        <pc:chgData name="Lopez, Dave (BGA Aftmkt)" userId="3efd0e50-8734-4d76-9241-14ad2ed554f7" providerId="ADAL" clId="{51A3CEF3-8D54-45CE-A1B6-ADB8BB107BF3}" dt="2024-11-04T19:20:09.814" v="10" actId="47"/>
        <pc:sldMkLst>
          <pc:docMk/>
          <pc:sldMk cId="2545042003" sldId="2147480554"/>
        </pc:sldMkLst>
      </pc:sldChg>
      <pc:sldChg chg="add del">
        <pc:chgData name="Lopez, Dave (BGA Aftmkt)" userId="3efd0e50-8734-4d76-9241-14ad2ed554f7" providerId="ADAL" clId="{51A3CEF3-8D54-45CE-A1B6-ADB8BB107BF3}" dt="2024-11-04T19:20:09.814" v="10" actId="47"/>
        <pc:sldMkLst>
          <pc:docMk/>
          <pc:sldMk cId="2717231199" sldId="2147480556"/>
        </pc:sldMkLst>
      </pc:sldChg>
      <pc:sldChg chg="add del">
        <pc:chgData name="Lopez, Dave (BGA Aftmkt)" userId="3efd0e50-8734-4d76-9241-14ad2ed554f7" providerId="ADAL" clId="{51A3CEF3-8D54-45CE-A1B6-ADB8BB107BF3}" dt="2024-11-04T19:19:43.386" v="9" actId="47"/>
        <pc:sldMkLst>
          <pc:docMk/>
          <pc:sldMk cId="4233249255" sldId="2147483252"/>
        </pc:sldMkLst>
      </pc:sldChg>
      <pc:sldChg chg="add del">
        <pc:chgData name="Lopez, Dave (BGA Aftmkt)" userId="3efd0e50-8734-4d76-9241-14ad2ed554f7" providerId="ADAL" clId="{51A3CEF3-8D54-45CE-A1B6-ADB8BB107BF3}" dt="2024-11-04T19:18:03.314" v="6" actId="47"/>
        <pc:sldMkLst>
          <pc:docMk/>
          <pc:sldMk cId="244201163" sldId="2147483255"/>
        </pc:sldMkLst>
      </pc:sldChg>
      <pc:sldChg chg="add del">
        <pc:chgData name="Lopez, Dave (BGA Aftmkt)" userId="3efd0e50-8734-4d76-9241-14ad2ed554f7" providerId="ADAL" clId="{51A3CEF3-8D54-45CE-A1B6-ADB8BB107BF3}" dt="2024-11-04T19:18:03.314" v="6" actId="47"/>
        <pc:sldMkLst>
          <pc:docMk/>
          <pc:sldMk cId="1729421735" sldId="2147483257"/>
        </pc:sldMkLst>
      </pc:sldChg>
      <pc:sldChg chg="add del">
        <pc:chgData name="Lopez, Dave (BGA Aftmkt)" userId="3efd0e50-8734-4d76-9241-14ad2ed554f7" providerId="ADAL" clId="{51A3CEF3-8D54-45CE-A1B6-ADB8BB107BF3}" dt="2024-11-04T19:17:43.575" v="5" actId="47"/>
        <pc:sldMkLst>
          <pc:docMk/>
          <pc:sldMk cId="2182341641" sldId="2147483263"/>
        </pc:sldMkLst>
      </pc:sldChg>
      <pc:sldChg chg="add del">
        <pc:chgData name="Lopez, Dave (BGA Aftmkt)" userId="3efd0e50-8734-4d76-9241-14ad2ed554f7" providerId="ADAL" clId="{51A3CEF3-8D54-45CE-A1B6-ADB8BB107BF3}" dt="2024-11-04T19:17:43.575" v="5" actId="47"/>
        <pc:sldMkLst>
          <pc:docMk/>
          <pc:sldMk cId="2156565935" sldId="2147483264"/>
        </pc:sldMkLst>
      </pc:sldChg>
      <pc:sldChg chg="add del">
        <pc:chgData name="Lopez, Dave (BGA Aftmkt)" userId="3efd0e50-8734-4d76-9241-14ad2ed554f7" providerId="ADAL" clId="{51A3CEF3-8D54-45CE-A1B6-ADB8BB107BF3}" dt="2024-11-04T19:17:43.575" v="5" actId="47"/>
        <pc:sldMkLst>
          <pc:docMk/>
          <pc:sldMk cId="1684136667" sldId="2147483266"/>
        </pc:sldMkLst>
      </pc:sldChg>
      <pc:sldChg chg="add del">
        <pc:chgData name="Lopez, Dave (BGA Aftmkt)" userId="3efd0e50-8734-4d76-9241-14ad2ed554f7" providerId="ADAL" clId="{51A3CEF3-8D54-45CE-A1B6-ADB8BB107BF3}" dt="2024-11-04T19:17:43.575" v="5" actId="47"/>
        <pc:sldMkLst>
          <pc:docMk/>
          <pc:sldMk cId="2919484614" sldId="2147483267"/>
        </pc:sldMkLst>
      </pc:sldChg>
      <pc:sldChg chg="add del">
        <pc:chgData name="Lopez, Dave (BGA Aftmkt)" userId="3efd0e50-8734-4d76-9241-14ad2ed554f7" providerId="ADAL" clId="{51A3CEF3-8D54-45CE-A1B6-ADB8BB107BF3}" dt="2024-11-04T19:17:43.575" v="5" actId="47"/>
        <pc:sldMkLst>
          <pc:docMk/>
          <pc:sldMk cId="2117975062" sldId="2147483268"/>
        </pc:sldMkLst>
      </pc:sldChg>
      <pc:sldChg chg="del">
        <pc:chgData name="Lopez, Dave (BGA Aftmkt)" userId="3efd0e50-8734-4d76-9241-14ad2ed554f7" providerId="ADAL" clId="{51A3CEF3-8D54-45CE-A1B6-ADB8BB107BF3}" dt="2024-11-04T19:21:56.228" v="19" actId="47"/>
        <pc:sldMkLst>
          <pc:docMk/>
          <pc:sldMk cId="3282637657" sldId="2147483270"/>
        </pc:sldMkLst>
      </pc:sldChg>
      <pc:sldChg chg="add del">
        <pc:chgData name="Lopez, Dave (BGA Aftmkt)" userId="3efd0e50-8734-4d76-9241-14ad2ed554f7" providerId="ADAL" clId="{51A3CEF3-8D54-45CE-A1B6-ADB8BB107BF3}" dt="2024-11-04T19:17:43.575" v="5" actId="47"/>
        <pc:sldMkLst>
          <pc:docMk/>
          <pc:sldMk cId="2445529430" sldId="2147483271"/>
        </pc:sldMkLst>
      </pc:sldChg>
      <pc:sldChg chg="del">
        <pc:chgData name="Lopez, Dave (BGA Aftmkt)" userId="3efd0e50-8734-4d76-9241-14ad2ed554f7" providerId="ADAL" clId="{51A3CEF3-8D54-45CE-A1B6-ADB8BB107BF3}" dt="2024-11-04T19:21:56.228" v="19" actId="47"/>
        <pc:sldMkLst>
          <pc:docMk/>
          <pc:sldMk cId="4161854987" sldId="2147483272"/>
        </pc:sldMkLst>
      </pc:sldChg>
      <pc:sldChg chg="del">
        <pc:chgData name="Lopez, Dave (BGA Aftmkt)" userId="3efd0e50-8734-4d76-9241-14ad2ed554f7" providerId="ADAL" clId="{51A3CEF3-8D54-45CE-A1B6-ADB8BB107BF3}" dt="2024-11-04T19:21:56.228" v="19" actId="47"/>
        <pc:sldMkLst>
          <pc:docMk/>
          <pc:sldMk cId="4256777255" sldId="2147483274"/>
        </pc:sldMkLst>
      </pc:sldChg>
      <pc:sldChg chg="del">
        <pc:chgData name="Lopez, Dave (BGA Aftmkt)" userId="3efd0e50-8734-4d76-9241-14ad2ed554f7" providerId="ADAL" clId="{51A3CEF3-8D54-45CE-A1B6-ADB8BB107BF3}" dt="2024-11-04T19:21:56.228" v="19" actId="47"/>
        <pc:sldMkLst>
          <pc:docMk/>
          <pc:sldMk cId="1979977299" sldId="2147483275"/>
        </pc:sldMkLst>
      </pc:sldChg>
      <pc:sldChg chg="del">
        <pc:chgData name="Lopez, Dave (BGA Aftmkt)" userId="3efd0e50-8734-4d76-9241-14ad2ed554f7" providerId="ADAL" clId="{51A3CEF3-8D54-45CE-A1B6-ADB8BB107BF3}" dt="2024-11-04T19:21:56.228" v="19" actId="47"/>
        <pc:sldMkLst>
          <pc:docMk/>
          <pc:sldMk cId="3996286169" sldId="2147483276"/>
        </pc:sldMkLst>
      </pc:sldChg>
      <pc:sldChg chg="del">
        <pc:chgData name="Lopez, Dave (BGA Aftmkt)" userId="3efd0e50-8734-4d76-9241-14ad2ed554f7" providerId="ADAL" clId="{51A3CEF3-8D54-45CE-A1B6-ADB8BB107BF3}" dt="2024-11-04T19:21:56.228" v="19" actId="47"/>
        <pc:sldMkLst>
          <pc:docMk/>
          <pc:sldMk cId="3922273206" sldId="2147483278"/>
        </pc:sldMkLst>
      </pc:sldChg>
      <pc:sldChg chg="add del">
        <pc:chgData name="Lopez, Dave (BGA Aftmkt)" userId="3efd0e50-8734-4d76-9241-14ad2ed554f7" providerId="ADAL" clId="{51A3CEF3-8D54-45CE-A1B6-ADB8BB107BF3}" dt="2024-11-04T19:18:03.314" v="6" actId="47"/>
        <pc:sldMkLst>
          <pc:docMk/>
          <pc:sldMk cId="1292903235" sldId="2147483291"/>
        </pc:sldMkLst>
      </pc:sldChg>
      <pc:sldChg chg="add del">
        <pc:chgData name="Lopez, Dave (BGA Aftmkt)" userId="3efd0e50-8734-4d76-9241-14ad2ed554f7" providerId="ADAL" clId="{51A3CEF3-8D54-45CE-A1B6-ADB8BB107BF3}" dt="2024-11-04T19:20:09.814" v="10" actId="47"/>
        <pc:sldMkLst>
          <pc:docMk/>
          <pc:sldMk cId="1674159111" sldId="2147483386"/>
        </pc:sldMkLst>
      </pc:sldChg>
      <pc:sldChg chg="add del">
        <pc:chgData name="Lopez, Dave (BGA Aftmkt)" userId="3efd0e50-8734-4d76-9241-14ad2ed554f7" providerId="ADAL" clId="{51A3CEF3-8D54-45CE-A1B6-ADB8BB107BF3}" dt="2024-11-04T19:19:43.386" v="9" actId="47"/>
        <pc:sldMkLst>
          <pc:docMk/>
          <pc:sldMk cId="1312891255" sldId="2147483393"/>
        </pc:sldMkLst>
      </pc:sldChg>
      <pc:sldChg chg="add del">
        <pc:chgData name="Lopez, Dave (BGA Aftmkt)" userId="3efd0e50-8734-4d76-9241-14ad2ed554f7" providerId="ADAL" clId="{51A3CEF3-8D54-45CE-A1B6-ADB8BB107BF3}" dt="2024-11-04T19:19:43.386" v="9" actId="47"/>
        <pc:sldMkLst>
          <pc:docMk/>
          <pc:sldMk cId="875337400" sldId="2147483394"/>
        </pc:sldMkLst>
      </pc:sldChg>
      <pc:sldChg chg="add del">
        <pc:chgData name="Lopez, Dave (BGA Aftmkt)" userId="3efd0e50-8734-4d76-9241-14ad2ed554f7" providerId="ADAL" clId="{51A3CEF3-8D54-45CE-A1B6-ADB8BB107BF3}" dt="2024-11-04T19:20:09.814" v="10" actId="47"/>
        <pc:sldMkLst>
          <pc:docMk/>
          <pc:sldMk cId="1468346990" sldId="2147483395"/>
        </pc:sldMkLst>
      </pc:sldChg>
      <pc:sldChg chg="add del">
        <pc:chgData name="Lopez, Dave (BGA Aftmkt)" userId="3efd0e50-8734-4d76-9241-14ad2ed554f7" providerId="ADAL" clId="{51A3CEF3-8D54-45CE-A1B6-ADB8BB107BF3}" dt="2024-11-04T19:19:43.386" v="9" actId="47"/>
        <pc:sldMkLst>
          <pc:docMk/>
          <pc:sldMk cId="2326074877" sldId="2147483396"/>
        </pc:sldMkLst>
      </pc:sldChg>
      <pc:sldChg chg="add del">
        <pc:chgData name="Lopez, Dave (BGA Aftmkt)" userId="3efd0e50-8734-4d76-9241-14ad2ed554f7" providerId="ADAL" clId="{51A3CEF3-8D54-45CE-A1B6-ADB8BB107BF3}" dt="2024-11-04T19:19:43.386" v="9" actId="47"/>
        <pc:sldMkLst>
          <pc:docMk/>
          <pc:sldMk cId="1785264568" sldId="2147483397"/>
        </pc:sldMkLst>
      </pc:sldChg>
      <pc:sldChg chg="add del">
        <pc:chgData name="Lopez, Dave (BGA Aftmkt)" userId="3efd0e50-8734-4d76-9241-14ad2ed554f7" providerId="ADAL" clId="{51A3CEF3-8D54-45CE-A1B6-ADB8BB107BF3}" dt="2024-11-04T19:20:34.131" v="13" actId="47"/>
        <pc:sldMkLst>
          <pc:docMk/>
          <pc:sldMk cId="4259553759" sldId="2147483398"/>
        </pc:sldMkLst>
      </pc:sldChg>
      <pc:sldChg chg="add del">
        <pc:chgData name="Lopez, Dave (BGA Aftmkt)" userId="3efd0e50-8734-4d76-9241-14ad2ed554f7" providerId="ADAL" clId="{51A3CEF3-8D54-45CE-A1B6-ADB8BB107BF3}" dt="2024-11-04T19:18:03.314" v="6" actId="47"/>
        <pc:sldMkLst>
          <pc:docMk/>
          <pc:sldMk cId="2035085258" sldId="2147483399"/>
        </pc:sldMkLst>
      </pc:sldChg>
      <pc:sldChg chg="add del">
        <pc:chgData name="Lopez, Dave (BGA Aftmkt)" userId="3efd0e50-8734-4d76-9241-14ad2ed554f7" providerId="ADAL" clId="{51A3CEF3-8D54-45CE-A1B6-ADB8BB107BF3}" dt="2024-11-04T19:18:03.314" v="6" actId="47"/>
        <pc:sldMkLst>
          <pc:docMk/>
          <pc:sldMk cId="3006456066" sldId="2147483402"/>
        </pc:sldMkLst>
      </pc:sldChg>
      <pc:sldChg chg="del">
        <pc:chgData name="Lopez, Dave (BGA Aftmkt)" userId="3efd0e50-8734-4d76-9241-14ad2ed554f7" providerId="ADAL" clId="{51A3CEF3-8D54-45CE-A1B6-ADB8BB107BF3}" dt="2024-11-04T19:21:56.228" v="19" actId="47"/>
        <pc:sldMkLst>
          <pc:docMk/>
          <pc:sldMk cId="856027581" sldId="2147483404"/>
        </pc:sldMkLst>
      </pc:sldChg>
      <pc:sldChg chg="del">
        <pc:chgData name="Lopez, Dave (BGA Aftmkt)" userId="3efd0e50-8734-4d76-9241-14ad2ed554f7" providerId="ADAL" clId="{51A3CEF3-8D54-45CE-A1B6-ADB8BB107BF3}" dt="2024-11-04T19:21:56.228" v="19" actId="47"/>
        <pc:sldMkLst>
          <pc:docMk/>
          <pc:sldMk cId="1918716704" sldId="2147483405"/>
        </pc:sldMkLst>
      </pc:sldChg>
      <pc:sldChg chg="del">
        <pc:chgData name="Lopez, Dave (BGA Aftmkt)" userId="3efd0e50-8734-4d76-9241-14ad2ed554f7" providerId="ADAL" clId="{51A3CEF3-8D54-45CE-A1B6-ADB8BB107BF3}" dt="2024-11-04T19:21:56.228" v="19" actId="47"/>
        <pc:sldMkLst>
          <pc:docMk/>
          <pc:sldMk cId="2517429958" sldId="2147483407"/>
        </pc:sldMkLst>
      </pc:sldChg>
      <pc:sldChg chg="add del">
        <pc:chgData name="Lopez, Dave (BGA Aftmkt)" userId="3efd0e50-8734-4d76-9241-14ad2ed554f7" providerId="ADAL" clId="{51A3CEF3-8D54-45CE-A1B6-ADB8BB107BF3}" dt="2024-11-04T19:20:09.814" v="10" actId="47"/>
        <pc:sldMkLst>
          <pc:docMk/>
          <pc:sldMk cId="2664281283" sldId="2147483408"/>
        </pc:sldMkLst>
      </pc:sldChg>
      <pc:sldChg chg="add del">
        <pc:chgData name="Lopez, Dave (BGA Aftmkt)" userId="3efd0e50-8734-4d76-9241-14ad2ed554f7" providerId="ADAL" clId="{51A3CEF3-8D54-45CE-A1B6-ADB8BB107BF3}" dt="2024-11-04T19:20:09.814" v="10" actId="47"/>
        <pc:sldMkLst>
          <pc:docMk/>
          <pc:sldMk cId="1627994287" sldId="2147483409"/>
        </pc:sldMkLst>
      </pc:sldChg>
      <pc:sldChg chg="add del">
        <pc:chgData name="Lopez, Dave (BGA Aftmkt)" userId="3efd0e50-8734-4d76-9241-14ad2ed554f7" providerId="ADAL" clId="{51A3CEF3-8D54-45CE-A1B6-ADB8BB107BF3}" dt="2024-11-04T19:20:09.814" v="10" actId="47"/>
        <pc:sldMkLst>
          <pc:docMk/>
          <pc:sldMk cId="1928968687" sldId="2147483411"/>
        </pc:sldMkLst>
      </pc:sldChg>
      <pc:sldChg chg="add del">
        <pc:chgData name="Lopez, Dave (BGA Aftmkt)" userId="3efd0e50-8734-4d76-9241-14ad2ed554f7" providerId="ADAL" clId="{51A3CEF3-8D54-45CE-A1B6-ADB8BB107BF3}" dt="2024-11-04T19:20:09.814" v="10" actId="47"/>
        <pc:sldMkLst>
          <pc:docMk/>
          <pc:sldMk cId="4079760365" sldId="2147483412"/>
        </pc:sldMkLst>
      </pc:sldChg>
      <pc:sldChg chg="del">
        <pc:chgData name="Lopez, Dave (BGA Aftmkt)" userId="3efd0e50-8734-4d76-9241-14ad2ed554f7" providerId="ADAL" clId="{51A3CEF3-8D54-45CE-A1B6-ADB8BB107BF3}" dt="2024-11-04T19:21:56.228" v="19" actId="47"/>
        <pc:sldMkLst>
          <pc:docMk/>
          <pc:sldMk cId="1735698398" sldId="2147483414"/>
        </pc:sldMkLst>
      </pc:sldChg>
      <pc:sldChg chg="add del">
        <pc:chgData name="Lopez, Dave (BGA Aftmkt)" userId="3efd0e50-8734-4d76-9241-14ad2ed554f7" providerId="ADAL" clId="{51A3CEF3-8D54-45CE-A1B6-ADB8BB107BF3}" dt="2024-11-04T19:20:09.814" v="10" actId="47"/>
        <pc:sldMkLst>
          <pc:docMk/>
          <pc:sldMk cId="1239162181" sldId="2147483415"/>
        </pc:sldMkLst>
      </pc:sldChg>
      <pc:sldChg chg="del">
        <pc:chgData name="Lopez, Dave (BGA Aftmkt)" userId="3efd0e50-8734-4d76-9241-14ad2ed554f7" providerId="ADAL" clId="{51A3CEF3-8D54-45CE-A1B6-ADB8BB107BF3}" dt="2024-11-04T19:21:56.228" v="19" actId="47"/>
        <pc:sldMkLst>
          <pc:docMk/>
          <pc:sldMk cId="1223469805" sldId="2147483416"/>
        </pc:sldMkLst>
      </pc:sldChg>
      <pc:sldChg chg="del">
        <pc:chgData name="Lopez, Dave (BGA Aftmkt)" userId="3efd0e50-8734-4d76-9241-14ad2ed554f7" providerId="ADAL" clId="{51A3CEF3-8D54-45CE-A1B6-ADB8BB107BF3}" dt="2024-11-04T19:21:56.228" v="19" actId="47"/>
        <pc:sldMkLst>
          <pc:docMk/>
          <pc:sldMk cId="1688012164" sldId="2147483417"/>
        </pc:sldMkLst>
      </pc:sldChg>
      <pc:sldChg chg="del">
        <pc:chgData name="Lopez, Dave (BGA Aftmkt)" userId="3efd0e50-8734-4d76-9241-14ad2ed554f7" providerId="ADAL" clId="{51A3CEF3-8D54-45CE-A1B6-ADB8BB107BF3}" dt="2024-11-04T19:21:56.228" v="19" actId="47"/>
        <pc:sldMkLst>
          <pc:docMk/>
          <pc:sldMk cId="2332795626" sldId="2147483418"/>
        </pc:sldMkLst>
      </pc:sldChg>
      <pc:sldChg chg="add del">
        <pc:chgData name="Lopez, Dave (BGA Aftmkt)" userId="3efd0e50-8734-4d76-9241-14ad2ed554f7" providerId="ADAL" clId="{51A3CEF3-8D54-45CE-A1B6-ADB8BB107BF3}" dt="2024-11-04T19:20:09.814" v="10" actId="47"/>
        <pc:sldMkLst>
          <pc:docMk/>
          <pc:sldMk cId="62945823" sldId="2147483419"/>
        </pc:sldMkLst>
      </pc:sldChg>
      <pc:sldChg chg="add del">
        <pc:chgData name="Lopez, Dave (BGA Aftmkt)" userId="3efd0e50-8734-4d76-9241-14ad2ed554f7" providerId="ADAL" clId="{51A3CEF3-8D54-45CE-A1B6-ADB8BB107BF3}" dt="2024-11-04T19:20:38.550" v="15" actId="47"/>
        <pc:sldMkLst>
          <pc:docMk/>
          <pc:sldMk cId="2665753517" sldId="2147483420"/>
        </pc:sldMkLst>
      </pc:sldChg>
      <pc:sldChg chg="del">
        <pc:chgData name="Lopez, Dave (BGA Aftmkt)" userId="3efd0e50-8734-4d76-9241-14ad2ed554f7" providerId="ADAL" clId="{51A3CEF3-8D54-45CE-A1B6-ADB8BB107BF3}" dt="2024-11-04T19:21:56.228" v="19" actId="47"/>
        <pc:sldMkLst>
          <pc:docMk/>
          <pc:sldMk cId="3193477862" sldId="2147483421"/>
        </pc:sldMkLst>
      </pc:sldChg>
      <pc:sldChg chg="del">
        <pc:chgData name="Lopez, Dave (BGA Aftmkt)" userId="3efd0e50-8734-4d76-9241-14ad2ed554f7" providerId="ADAL" clId="{51A3CEF3-8D54-45CE-A1B6-ADB8BB107BF3}" dt="2024-11-04T19:21:56.228" v="19" actId="47"/>
        <pc:sldMkLst>
          <pc:docMk/>
          <pc:sldMk cId="3705113971" sldId="2147483422"/>
        </pc:sldMkLst>
      </pc:sldChg>
      <pc:sldChg chg="del">
        <pc:chgData name="Lopez, Dave (BGA Aftmkt)" userId="3efd0e50-8734-4d76-9241-14ad2ed554f7" providerId="ADAL" clId="{51A3CEF3-8D54-45CE-A1B6-ADB8BB107BF3}" dt="2024-11-04T19:21:56.228" v="19" actId="47"/>
        <pc:sldMkLst>
          <pc:docMk/>
          <pc:sldMk cId="1251078890" sldId="2147483423"/>
        </pc:sldMkLst>
      </pc:sldChg>
      <pc:sldChg chg="add del">
        <pc:chgData name="Lopez, Dave (BGA Aftmkt)" userId="3efd0e50-8734-4d76-9241-14ad2ed554f7" providerId="ADAL" clId="{51A3CEF3-8D54-45CE-A1B6-ADB8BB107BF3}" dt="2024-11-04T19:17:43.575" v="5" actId="47"/>
        <pc:sldMkLst>
          <pc:docMk/>
          <pc:sldMk cId="4255431557" sldId="2147483424"/>
        </pc:sldMkLst>
      </pc:sldChg>
      <pc:sldChg chg="add del">
        <pc:chgData name="Lopez, Dave (BGA Aftmkt)" userId="3efd0e50-8734-4d76-9241-14ad2ed554f7" providerId="ADAL" clId="{51A3CEF3-8D54-45CE-A1B6-ADB8BB107BF3}" dt="2024-11-07T17:27:01.903" v="2300" actId="47"/>
        <pc:sldMkLst>
          <pc:docMk/>
          <pc:sldMk cId="3924404701" sldId="2147483425"/>
        </pc:sldMkLst>
      </pc:sldChg>
      <pc:sldChg chg="del">
        <pc:chgData name="Lopez, Dave (BGA Aftmkt)" userId="3efd0e50-8734-4d76-9241-14ad2ed554f7" providerId="ADAL" clId="{51A3CEF3-8D54-45CE-A1B6-ADB8BB107BF3}" dt="2024-11-04T19:21:56.228" v="19" actId="47"/>
        <pc:sldMkLst>
          <pc:docMk/>
          <pc:sldMk cId="900011194" sldId="2147483426"/>
        </pc:sldMkLst>
      </pc:sldChg>
      <pc:sldChg chg="addSp delSp modSp new mod modClrScheme chgLayout">
        <pc:chgData name="Lopez, Dave (BGA Aftmkt)" userId="3efd0e50-8734-4d76-9241-14ad2ed554f7" providerId="ADAL" clId="{51A3CEF3-8D54-45CE-A1B6-ADB8BB107BF3}" dt="2024-11-07T18:36:07.139" v="2301" actId="1076"/>
        <pc:sldMkLst>
          <pc:docMk/>
          <pc:sldMk cId="2124923055" sldId="2147483426"/>
        </pc:sldMkLst>
        <pc:spChg chg="mod ord">
          <ac:chgData name="Lopez, Dave (BGA Aftmkt)" userId="3efd0e50-8734-4d76-9241-14ad2ed554f7" providerId="ADAL" clId="{51A3CEF3-8D54-45CE-A1B6-ADB8BB107BF3}" dt="2024-11-07T17:18:26.997" v="2176" actId="1076"/>
          <ac:spMkLst>
            <pc:docMk/>
            <pc:sldMk cId="2124923055" sldId="2147483426"/>
            <ac:spMk id="2" creationId="{AA9EE2F2-BE67-6996-909A-8AA535A50158}"/>
          </ac:spMkLst>
        </pc:spChg>
        <pc:spChg chg="del">
          <ac:chgData name="Lopez, Dave (BGA Aftmkt)" userId="3efd0e50-8734-4d76-9241-14ad2ed554f7" providerId="ADAL" clId="{51A3CEF3-8D54-45CE-A1B6-ADB8BB107BF3}" dt="2024-11-04T20:16:34.775" v="21" actId="478"/>
          <ac:spMkLst>
            <pc:docMk/>
            <pc:sldMk cId="2124923055" sldId="2147483426"/>
            <ac:spMk id="3" creationId="{2AAD7ED6-0A01-F8ED-9EA8-6112FC933B25}"/>
          </ac:spMkLst>
        </pc:spChg>
        <pc:spChg chg="del mod">
          <ac:chgData name="Lopez, Dave (BGA Aftmkt)" userId="3efd0e50-8734-4d76-9241-14ad2ed554f7" providerId="ADAL" clId="{51A3CEF3-8D54-45CE-A1B6-ADB8BB107BF3}" dt="2024-11-07T15:37:54.240" v="1742" actId="478"/>
          <ac:spMkLst>
            <pc:docMk/>
            <pc:sldMk cId="2124923055" sldId="2147483426"/>
            <ac:spMk id="4" creationId="{5134BC27-E14B-03E2-071E-B563BD81BD89}"/>
          </ac:spMkLst>
        </pc:spChg>
        <pc:spChg chg="mod ord">
          <ac:chgData name="Lopez, Dave (BGA Aftmkt)" userId="3efd0e50-8734-4d76-9241-14ad2ed554f7" providerId="ADAL" clId="{51A3CEF3-8D54-45CE-A1B6-ADB8BB107BF3}" dt="2024-11-07T17:18:21.671" v="2175" actId="700"/>
          <ac:spMkLst>
            <pc:docMk/>
            <pc:sldMk cId="2124923055" sldId="2147483426"/>
            <ac:spMk id="5" creationId="{B646C862-B82F-9CA0-81A8-CBFAD2670873}"/>
          </ac:spMkLst>
        </pc:spChg>
        <pc:spChg chg="add mod">
          <ac:chgData name="Lopez, Dave (BGA Aftmkt)" userId="3efd0e50-8734-4d76-9241-14ad2ed554f7" providerId="ADAL" clId="{51A3CEF3-8D54-45CE-A1B6-ADB8BB107BF3}" dt="2024-11-07T17:18:39.045" v="2180" actId="1076"/>
          <ac:spMkLst>
            <pc:docMk/>
            <pc:sldMk cId="2124923055" sldId="2147483426"/>
            <ac:spMk id="9" creationId="{5C93774A-456B-202E-0ACC-3C923CBE840E}"/>
          </ac:spMkLst>
        </pc:spChg>
        <pc:spChg chg="add mod">
          <ac:chgData name="Lopez, Dave (BGA Aftmkt)" userId="3efd0e50-8734-4d76-9241-14ad2ed554f7" providerId="ADAL" clId="{51A3CEF3-8D54-45CE-A1B6-ADB8BB107BF3}" dt="2024-11-07T17:23:56.342" v="2213" actId="1036"/>
          <ac:spMkLst>
            <pc:docMk/>
            <pc:sldMk cId="2124923055" sldId="2147483426"/>
            <ac:spMk id="10" creationId="{1676DEBF-D7DF-2079-4299-313F3E00CE36}"/>
          </ac:spMkLst>
        </pc:spChg>
        <pc:spChg chg="add mod ord">
          <ac:chgData name="Lopez, Dave (BGA Aftmkt)" userId="3efd0e50-8734-4d76-9241-14ad2ed554f7" providerId="ADAL" clId="{51A3CEF3-8D54-45CE-A1B6-ADB8BB107BF3}" dt="2024-11-07T17:26:05.054" v="2297" actId="20577"/>
          <ac:spMkLst>
            <pc:docMk/>
            <pc:sldMk cId="2124923055" sldId="2147483426"/>
            <ac:spMk id="16" creationId="{9E1A1362-2680-4EAE-5529-55D725AE2F89}"/>
          </ac:spMkLst>
        </pc:spChg>
        <pc:graphicFrameChg chg="add mod">
          <ac:chgData name="Lopez, Dave (BGA Aftmkt)" userId="3efd0e50-8734-4d76-9241-14ad2ed554f7" providerId="ADAL" clId="{51A3CEF3-8D54-45CE-A1B6-ADB8BB107BF3}" dt="2024-11-04T20:16:36.752" v="22"/>
          <ac:graphicFrameMkLst>
            <pc:docMk/>
            <pc:sldMk cId="2124923055" sldId="2147483426"/>
            <ac:graphicFrameMk id="6" creationId="{7E681A30-038B-3188-E653-F964B1871539}"/>
          </ac:graphicFrameMkLst>
        </pc:graphicFrameChg>
        <pc:graphicFrameChg chg="add mod modGraphic">
          <ac:chgData name="Lopez, Dave (BGA Aftmkt)" userId="3efd0e50-8734-4d76-9241-14ad2ed554f7" providerId="ADAL" clId="{51A3CEF3-8D54-45CE-A1B6-ADB8BB107BF3}" dt="2024-11-07T17:23:56.342" v="2213" actId="1036"/>
          <ac:graphicFrameMkLst>
            <pc:docMk/>
            <pc:sldMk cId="2124923055" sldId="2147483426"/>
            <ac:graphicFrameMk id="7" creationId="{136BF3A3-B461-0AA7-66EE-83747689B792}"/>
          </ac:graphicFrameMkLst>
        </pc:graphicFrameChg>
        <pc:picChg chg="add del mod">
          <ac:chgData name="Lopez, Dave (BGA Aftmkt)" userId="3efd0e50-8734-4d76-9241-14ad2ed554f7" providerId="ADAL" clId="{51A3CEF3-8D54-45CE-A1B6-ADB8BB107BF3}" dt="2024-11-07T17:14:42.829" v="2055" actId="478"/>
          <ac:picMkLst>
            <pc:docMk/>
            <pc:sldMk cId="2124923055" sldId="2147483426"/>
            <ac:picMk id="6" creationId="{A82C10CF-2711-80A1-5CDF-724C38A78328}"/>
          </ac:picMkLst>
        </pc:picChg>
        <pc:picChg chg="add mod">
          <ac:chgData name="Lopez, Dave (BGA Aftmkt)" userId="3efd0e50-8734-4d76-9241-14ad2ed554f7" providerId="ADAL" clId="{51A3CEF3-8D54-45CE-A1B6-ADB8BB107BF3}" dt="2024-11-07T17:18:34.060" v="2178" actId="1076"/>
          <ac:picMkLst>
            <pc:docMk/>
            <pc:sldMk cId="2124923055" sldId="2147483426"/>
            <ac:picMk id="8" creationId="{65F39F4D-4664-B708-1C29-CC3906C59EBF}"/>
          </ac:picMkLst>
        </pc:picChg>
        <pc:picChg chg="add del mod">
          <ac:chgData name="Lopez, Dave (BGA Aftmkt)" userId="3efd0e50-8734-4d76-9241-14ad2ed554f7" providerId="ADAL" clId="{51A3CEF3-8D54-45CE-A1B6-ADB8BB107BF3}" dt="2024-11-07T15:37:33.763" v="1740" actId="478"/>
          <ac:picMkLst>
            <pc:docMk/>
            <pc:sldMk cId="2124923055" sldId="2147483426"/>
            <ac:picMk id="11" creationId="{C06F530B-8415-023E-351E-462E4B879318}"/>
          </ac:picMkLst>
        </pc:picChg>
        <pc:picChg chg="add del mod">
          <ac:chgData name="Lopez, Dave (BGA Aftmkt)" userId="3efd0e50-8734-4d76-9241-14ad2ed554f7" providerId="ADAL" clId="{51A3CEF3-8D54-45CE-A1B6-ADB8BB107BF3}" dt="2024-11-07T17:06:16.745" v="2001" actId="478"/>
          <ac:picMkLst>
            <pc:docMk/>
            <pc:sldMk cId="2124923055" sldId="2147483426"/>
            <ac:picMk id="13" creationId="{C59D2A8B-DB9E-FF06-A2DF-E6E8751EDDFD}"/>
          </ac:picMkLst>
        </pc:picChg>
        <pc:picChg chg="add mod">
          <ac:chgData name="Lopez, Dave (BGA Aftmkt)" userId="3efd0e50-8734-4d76-9241-14ad2ed554f7" providerId="ADAL" clId="{51A3CEF3-8D54-45CE-A1B6-ADB8BB107BF3}" dt="2024-11-07T18:36:07.139" v="2301" actId="1076"/>
          <ac:picMkLst>
            <pc:docMk/>
            <pc:sldMk cId="2124923055" sldId="2147483426"/>
            <ac:picMk id="15" creationId="{CFD78CFD-158C-3F79-66BC-D45C83D72173}"/>
          </ac:picMkLst>
        </pc:picChg>
      </pc:sldChg>
      <pc:sldChg chg="add del">
        <pc:chgData name="Lopez, Dave (BGA Aftmkt)" userId="3efd0e50-8734-4d76-9241-14ad2ed554f7" providerId="ADAL" clId="{51A3CEF3-8D54-45CE-A1B6-ADB8BB107BF3}" dt="2024-11-04T19:20:09.814" v="10" actId="47"/>
        <pc:sldMkLst>
          <pc:docMk/>
          <pc:sldMk cId="2014451763" sldId="2147483428"/>
        </pc:sldMkLst>
      </pc:sldChg>
      <pc:sldChg chg="del">
        <pc:chgData name="Lopez, Dave (BGA Aftmkt)" userId="3efd0e50-8734-4d76-9241-14ad2ed554f7" providerId="ADAL" clId="{51A3CEF3-8D54-45CE-A1B6-ADB8BB107BF3}" dt="2024-11-04T19:21:56.228" v="19" actId="47"/>
        <pc:sldMkLst>
          <pc:docMk/>
          <pc:sldMk cId="2719195438" sldId="2147483429"/>
        </pc:sldMkLst>
      </pc:sldChg>
      <pc:sldChg chg="add del">
        <pc:chgData name="Lopez, Dave (BGA Aftmkt)" userId="3efd0e50-8734-4d76-9241-14ad2ed554f7" providerId="ADAL" clId="{51A3CEF3-8D54-45CE-A1B6-ADB8BB107BF3}" dt="2024-11-04T19:20:40.805" v="16" actId="47"/>
        <pc:sldMkLst>
          <pc:docMk/>
          <pc:sldMk cId="2858925481" sldId="2147483430"/>
        </pc:sldMkLst>
      </pc:sldChg>
      <pc:sldChg chg="del">
        <pc:chgData name="Lopez, Dave (BGA Aftmkt)" userId="3efd0e50-8734-4d76-9241-14ad2ed554f7" providerId="ADAL" clId="{51A3CEF3-8D54-45CE-A1B6-ADB8BB107BF3}" dt="2024-11-04T19:21:56.228" v="19" actId="47"/>
        <pc:sldMkLst>
          <pc:docMk/>
          <pc:sldMk cId="2752467470" sldId="2147483431"/>
        </pc:sldMkLst>
      </pc:sldChg>
      <pc:sldChg chg="del">
        <pc:chgData name="Lopez, Dave (BGA Aftmkt)" userId="3efd0e50-8734-4d76-9241-14ad2ed554f7" providerId="ADAL" clId="{51A3CEF3-8D54-45CE-A1B6-ADB8BB107BF3}" dt="2024-11-04T19:21:56.228" v="19" actId="47"/>
        <pc:sldMkLst>
          <pc:docMk/>
          <pc:sldMk cId="118723150" sldId="2147483432"/>
        </pc:sldMkLst>
      </pc:sldChg>
      <pc:sldChg chg="del">
        <pc:chgData name="Lopez, Dave (BGA Aftmkt)" userId="3efd0e50-8734-4d76-9241-14ad2ed554f7" providerId="ADAL" clId="{51A3CEF3-8D54-45CE-A1B6-ADB8BB107BF3}" dt="2024-11-04T19:21:56.228" v="19" actId="47"/>
        <pc:sldMkLst>
          <pc:docMk/>
          <pc:sldMk cId="1834997711" sldId="2147483433"/>
        </pc:sldMkLst>
      </pc:sldChg>
      <pc:sldChg chg="del">
        <pc:chgData name="Lopez, Dave (BGA Aftmkt)" userId="3efd0e50-8734-4d76-9241-14ad2ed554f7" providerId="ADAL" clId="{51A3CEF3-8D54-45CE-A1B6-ADB8BB107BF3}" dt="2024-11-04T19:21:56.228" v="19" actId="47"/>
        <pc:sldMkLst>
          <pc:docMk/>
          <pc:sldMk cId="4054353808" sldId="2147483434"/>
        </pc:sldMkLst>
      </pc:sldChg>
      <pc:sldChg chg="del">
        <pc:chgData name="Lopez, Dave (BGA Aftmkt)" userId="3efd0e50-8734-4d76-9241-14ad2ed554f7" providerId="ADAL" clId="{51A3CEF3-8D54-45CE-A1B6-ADB8BB107BF3}" dt="2024-11-04T19:21:56.228" v="19" actId="47"/>
        <pc:sldMkLst>
          <pc:docMk/>
          <pc:sldMk cId="2691298133" sldId="2147483435"/>
        </pc:sldMkLst>
      </pc:sldChg>
      <pc:sldChg chg="del">
        <pc:chgData name="Lopez, Dave (BGA Aftmkt)" userId="3efd0e50-8734-4d76-9241-14ad2ed554f7" providerId="ADAL" clId="{51A3CEF3-8D54-45CE-A1B6-ADB8BB107BF3}" dt="2024-11-04T19:21:56.228" v="19" actId="47"/>
        <pc:sldMkLst>
          <pc:docMk/>
          <pc:sldMk cId="3330967706" sldId="2147483436"/>
        </pc:sldMkLst>
      </pc:sldChg>
      <pc:sldMasterChg chg="addSldLayout delSldLayout">
        <pc:chgData name="Lopez, Dave (BGA Aftmkt)" userId="3efd0e50-8734-4d76-9241-14ad2ed554f7" providerId="ADAL" clId="{51A3CEF3-8D54-45CE-A1B6-ADB8BB107BF3}" dt="2024-11-04T19:21:56.228" v="19" actId="47"/>
        <pc:sldMasterMkLst>
          <pc:docMk/>
          <pc:sldMasterMk cId="1961464670" sldId="2147483648"/>
        </pc:sldMasterMkLst>
        <pc:sldLayoutChg chg="add del">
          <pc:chgData name="Lopez, Dave (BGA Aftmkt)" userId="3efd0e50-8734-4d76-9241-14ad2ed554f7" providerId="ADAL" clId="{51A3CEF3-8D54-45CE-A1B6-ADB8BB107BF3}" dt="2024-11-04T19:20:35.182" v="14" actId="47"/>
          <pc:sldLayoutMkLst>
            <pc:docMk/>
            <pc:sldMasterMk cId="1961464670" sldId="2147483648"/>
            <pc:sldLayoutMk cId="1670308578" sldId="2147483711"/>
          </pc:sldLayoutMkLst>
        </pc:sldLayoutChg>
        <pc:sldLayoutChg chg="del">
          <pc:chgData name="Lopez, Dave (BGA Aftmkt)" userId="3efd0e50-8734-4d76-9241-14ad2ed554f7" providerId="ADAL" clId="{51A3CEF3-8D54-45CE-A1B6-ADB8BB107BF3}" dt="2024-11-04T19:21:56.228" v="19" actId="47"/>
          <pc:sldLayoutMkLst>
            <pc:docMk/>
            <pc:sldMasterMk cId="1961464670" sldId="2147483648"/>
            <pc:sldLayoutMk cId="3663033270" sldId="2147483714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20:09.814" v="10" actId="47"/>
          <pc:sldLayoutMkLst>
            <pc:docMk/>
            <pc:sldMasterMk cId="1961464670" sldId="2147483648"/>
            <pc:sldLayoutMk cId="2023618269" sldId="2147483716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20:09.814" v="10" actId="47"/>
          <pc:sldLayoutMkLst>
            <pc:docMk/>
            <pc:sldMasterMk cId="1961464670" sldId="2147483648"/>
            <pc:sldLayoutMk cId="1891272737" sldId="2147483717"/>
          </pc:sldLayoutMkLst>
        </pc:sldLayoutChg>
        <pc:sldLayoutChg chg="del">
          <pc:chgData name="Lopez, Dave (BGA Aftmkt)" userId="3efd0e50-8734-4d76-9241-14ad2ed554f7" providerId="ADAL" clId="{51A3CEF3-8D54-45CE-A1B6-ADB8BB107BF3}" dt="2024-11-04T19:21:56.228" v="19" actId="47"/>
          <pc:sldLayoutMkLst>
            <pc:docMk/>
            <pc:sldMasterMk cId="1961464670" sldId="2147483648"/>
            <pc:sldLayoutMk cId="2529066203" sldId="2147483718"/>
          </pc:sldLayoutMkLst>
        </pc:sldLayoutChg>
        <pc:sldLayoutChg chg="del">
          <pc:chgData name="Lopez, Dave (BGA Aftmkt)" userId="3efd0e50-8734-4d76-9241-14ad2ed554f7" providerId="ADAL" clId="{51A3CEF3-8D54-45CE-A1B6-ADB8BB107BF3}" dt="2024-11-04T19:21:56.228" v="19" actId="47"/>
          <pc:sldLayoutMkLst>
            <pc:docMk/>
            <pc:sldMasterMk cId="1961464670" sldId="2147483648"/>
            <pc:sldLayoutMk cId="2109316906" sldId="2147483723"/>
          </pc:sldLayoutMkLst>
        </pc:sldLayoutChg>
        <pc:sldLayoutChg chg="del">
          <pc:chgData name="Lopez, Dave (BGA Aftmkt)" userId="3efd0e50-8734-4d76-9241-14ad2ed554f7" providerId="ADAL" clId="{51A3CEF3-8D54-45CE-A1B6-ADB8BB107BF3}" dt="2024-11-04T19:21:56.228" v="19" actId="47"/>
          <pc:sldLayoutMkLst>
            <pc:docMk/>
            <pc:sldMasterMk cId="1961464670" sldId="2147483648"/>
            <pc:sldLayoutMk cId="3616299935" sldId="2147484185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20:09.814" v="10" actId="47"/>
          <pc:sldLayoutMkLst>
            <pc:docMk/>
            <pc:sldMasterMk cId="1961464670" sldId="2147483648"/>
            <pc:sldLayoutMk cId="3741860900" sldId="2147484186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20:09.814" v="10" actId="47"/>
          <pc:sldLayoutMkLst>
            <pc:docMk/>
            <pc:sldMasterMk cId="1961464670" sldId="2147483648"/>
            <pc:sldLayoutMk cId="1011352586" sldId="2147484189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22.503" v="7" actId="47"/>
          <pc:sldLayoutMkLst>
            <pc:docMk/>
            <pc:sldMasterMk cId="1961464670" sldId="2147483648"/>
            <pc:sldLayoutMk cId="3424079216" sldId="2147484191"/>
          </pc:sldLayoutMkLst>
        </pc:sldLayoutChg>
        <pc:sldLayoutChg chg="del">
          <pc:chgData name="Lopez, Dave (BGA Aftmkt)" userId="3efd0e50-8734-4d76-9241-14ad2ed554f7" providerId="ADAL" clId="{51A3CEF3-8D54-45CE-A1B6-ADB8BB107BF3}" dt="2024-11-04T19:21:56.228" v="19" actId="47"/>
          <pc:sldLayoutMkLst>
            <pc:docMk/>
            <pc:sldMasterMk cId="1961464670" sldId="2147483648"/>
            <pc:sldLayoutMk cId="993363294" sldId="2147484192"/>
          </pc:sldLayoutMkLst>
        </pc:sldLayoutChg>
        <pc:sldLayoutChg chg="del">
          <pc:chgData name="Lopez, Dave (BGA Aftmkt)" userId="3efd0e50-8734-4d76-9241-14ad2ed554f7" providerId="ADAL" clId="{51A3CEF3-8D54-45CE-A1B6-ADB8BB107BF3}" dt="2024-11-04T19:21:56.228" v="19" actId="47"/>
          <pc:sldLayoutMkLst>
            <pc:docMk/>
            <pc:sldMasterMk cId="1961464670" sldId="2147483648"/>
            <pc:sldLayoutMk cId="3064452921" sldId="2147484342"/>
          </pc:sldLayoutMkLst>
        </pc:sldLayoutChg>
        <pc:sldLayoutChg chg="del">
          <pc:chgData name="Lopez, Dave (BGA Aftmkt)" userId="3efd0e50-8734-4d76-9241-14ad2ed554f7" providerId="ADAL" clId="{51A3CEF3-8D54-45CE-A1B6-ADB8BB107BF3}" dt="2024-11-04T19:21:56.228" v="19" actId="47"/>
          <pc:sldLayoutMkLst>
            <pc:docMk/>
            <pc:sldMasterMk cId="1961464670" sldId="2147483648"/>
            <pc:sldLayoutMk cId="3121155613" sldId="2147484343"/>
          </pc:sldLayoutMkLst>
        </pc:sldLayoutChg>
        <pc:sldLayoutChg chg="del">
          <pc:chgData name="Lopez, Dave (BGA Aftmkt)" userId="3efd0e50-8734-4d76-9241-14ad2ed554f7" providerId="ADAL" clId="{51A3CEF3-8D54-45CE-A1B6-ADB8BB107BF3}" dt="2024-11-04T19:21:56.228" v="19" actId="47"/>
          <pc:sldLayoutMkLst>
            <pc:docMk/>
            <pc:sldMasterMk cId="1961464670" sldId="2147483648"/>
            <pc:sldLayoutMk cId="2974734451" sldId="2147484344"/>
          </pc:sldLayoutMkLst>
        </pc:sldLayoutChg>
        <pc:sldLayoutChg chg="del">
          <pc:chgData name="Lopez, Dave (BGA Aftmkt)" userId="3efd0e50-8734-4d76-9241-14ad2ed554f7" providerId="ADAL" clId="{51A3CEF3-8D54-45CE-A1B6-ADB8BB107BF3}" dt="2024-11-04T19:21:56.228" v="19" actId="47"/>
          <pc:sldLayoutMkLst>
            <pc:docMk/>
            <pc:sldMasterMk cId="1961464670" sldId="2147483648"/>
            <pc:sldLayoutMk cId="162563779" sldId="2147484345"/>
          </pc:sldLayoutMkLst>
        </pc:sldLayoutChg>
      </pc:sldMasterChg>
      <pc:sldMasterChg chg="add del addSldLayout delSldLayout">
        <pc:chgData name="Lopez, Dave (BGA Aftmkt)" userId="3efd0e50-8734-4d76-9241-14ad2ed554f7" providerId="ADAL" clId="{51A3CEF3-8D54-45CE-A1B6-ADB8BB107BF3}" dt="2024-11-04T19:20:40.805" v="16" actId="47"/>
        <pc:sldMasterMkLst>
          <pc:docMk/>
          <pc:sldMasterMk cId="3393025497" sldId="2147483724"/>
        </pc:sldMasterMkLst>
        <pc:sldLayoutChg chg="add del">
          <pc:chgData name="Lopez, Dave (BGA Aftmkt)" userId="3efd0e50-8734-4d76-9241-14ad2ed554f7" providerId="ADAL" clId="{51A3CEF3-8D54-45CE-A1B6-ADB8BB107BF3}" dt="2024-11-04T19:20:40.805" v="16" actId="47"/>
          <pc:sldLayoutMkLst>
            <pc:docMk/>
            <pc:sldMasterMk cId="3393025497" sldId="2147483724"/>
            <pc:sldLayoutMk cId="300424882" sldId="2147483725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20:40.805" v="16" actId="47"/>
          <pc:sldLayoutMkLst>
            <pc:docMk/>
            <pc:sldMasterMk cId="3393025497" sldId="2147483724"/>
            <pc:sldLayoutMk cId="3319244888" sldId="2147483726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20:40.805" v="16" actId="47"/>
          <pc:sldLayoutMkLst>
            <pc:docMk/>
            <pc:sldMasterMk cId="3393025497" sldId="2147483724"/>
            <pc:sldLayoutMk cId="2005114017" sldId="2147483727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20:40.805" v="16" actId="47"/>
          <pc:sldLayoutMkLst>
            <pc:docMk/>
            <pc:sldMasterMk cId="3393025497" sldId="2147483724"/>
            <pc:sldLayoutMk cId="181582518" sldId="2147483728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20:40.805" v="16" actId="47"/>
          <pc:sldLayoutMkLst>
            <pc:docMk/>
            <pc:sldMasterMk cId="3393025497" sldId="2147483724"/>
            <pc:sldLayoutMk cId="541289874" sldId="2147483729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20:40.805" v="16" actId="47"/>
          <pc:sldLayoutMkLst>
            <pc:docMk/>
            <pc:sldMasterMk cId="3393025497" sldId="2147483724"/>
            <pc:sldLayoutMk cId="1719950400" sldId="2147483730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20:40.805" v="16" actId="47"/>
          <pc:sldLayoutMkLst>
            <pc:docMk/>
            <pc:sldMasterMk cId="3393025497" sldId="2147483724"/>
            <pc:sldLayoutMk cId="4292275895" sldId="2147483731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20:40.805" v="16" actId="47"/>
          <pc:sldLayoutMkLst>
            <pc:docMk/>
            <pc:sldMasterMk cId="3393025497" sldId="2147483724"/>
            <pc:sldLayoutMk cId="4247502631" sldId="2147483732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20:40.805" v="16" actId="47"/>
          <pc:sldLayoutMkLst>
            <pc:docMk/>
            <pc:sldMasterMk cId="3393025497" sldId="2147483724"/>
            <pc:sldLayoutMk cId="1365077738" sldId="2147483733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20:40.805" v="16" actId="47"/>
          <pc:sldLayoutMkLst>
            <pc:docMk/>
            <pc:sldMasterMk cId="3393025497" sldId="2147483724"/>
            <pc:sldLayoutMk cId="350812297" sldId="2147483734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20:40.805" v="16" actId="47"/>
          <pc:sldLayoutMkLst>
            <pc:docMk/>
            <pc:sldMasterMk cId="3393025497" sldId="2147483724"/>
            <pc:sldLayoutMk cId="1897408869" sldId="2147483735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20:40.805" v="16" actId="47"/>
          <pc:sldLayoutMkLst>
            <pc:docMk/>
            <pc:sldMasterMk cId="3393025497" sldId="2147483724"/>
            <pc:sldLayoutMk cId="2989469046" sldId="2147483736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20:40.805" v="16" actId="47"/>
          <pc:sldLayoutMkLst>
            <pc:docMk/>
            <pc:sldMasterMk cId="3393025497" sldId="2147483724"/>
            <pc:sldLayoutMk cId="2678338185" sldId="2147483737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20:40.805" v="16" actId="47"/>
          <pc:sldLayoutMkLst>
            <pc:docMk/>
            <pc:sldMasterMk cId="3393025497" sldId="2147483724"/>
            <pc:sldLayoutMk cId="3152336093" sldId="2147483738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20:40.805" v="16" actId="47"/>
          <pc:sldLayoutMkLst>
            <pc:docMk/>
            <pc:sldMasterMk cId="3393025497" sldId="2147483724"/>
            <pc:sldLayoutMk cId="2566144744" sldId="2147483739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20:40.805" v="16" actId="47"/>
          <pc:sldLayoutMkLst>
            <pc:docMk/>
            <pc:sldMasterMk cId="3393025497" sldId="2147483724"/>
            <pc:sldLayoutMk cId="573956525" sldId="2147483740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20:40.805" v="16" actId="47"/>
          <pc:sldLayoutMkLst>
            <pc:docMk/>
            <pc:sldMasterMk cId="3393025497" sldId="2147483724"/>
            <pc:sldLayoutMk cId="606536707" sldId="2147483741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20:40.805" v="16" actId="47"/>
          <pc:sldLayoutMkLst>
            <pc:docMk/>
            <pc:sldMasterMk cId="3393025497" sldId="2147483724"/>
            <pc:sldLayoutMk cId="3713221091" sldId="2147483742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20:40.805" v="16" actId="47"/>
          <pc:sldLayoutMkLst>
            <pc:docMk/>
            <pc:sldMasterMk cId="3393025497" sldId="2147483724"/>
            <pc:sldLayoutMk cId="1415130921" sldId="2147483743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20:40.805" v="16" actId="47"/>
          <pc:sldLayoutMkLst>
            <pc:docMk/>
            <pc:sldMasterMk cId="3393025497" sldId="2147483724"/>
            <pc:sldLayoutMk cId="3700449669" sldId="2147483744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20:40.805" v="16" actId="47"/>
          <pc:sldLayoutMkLst>
            <pc:docMk/>
            <pc:sldMasterMk cId="3393025497" sldId="2147483724"/>
            <pc:sldLayoutMk cId="1522556187" sldId="2147483745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20:40.805" v="16" actId="47"/>
          <pc:sldLayoutMkLst>
            <pc:docMk/>
            <pc:sldMasterMk cId="3393025497" sldId="2147483724"/>
            <pc:sldLayoutMk cId="936636681" sldId="2147483746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20:40.805" v="16" actId="47"/>
          <pc:sldLayoutMkLst>
            <pc:docMk/>
            <pc:sldMasterMk cId="3393025497" sldId="2147483724"/>
            <pc:sldLayoutMk cId="3471756525" sldId="2147483747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20:40.805" v="16" actId="47"/>
          <pc:sldLayoutMkLst>
            <pc:docMk/>
            <pc:sldMasterMk cId="3393025497" sldId="2147483724"/>
            <pc:sldLayoutMk cId="2153894853" sldId="2147483748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20:40.805" v="16" actId="47"/>
          <pc:sldLayoutMkLst>
            <pc:docMk/>
            <pc:sldMasterMk cId="3393025497" sldId="2147483724"/>
            <pc:sldLayoutMk cId="10231445" sldId="2147483749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20:40.805" v="16" actId="47"/>
          <pc:sldLayoutMkLst>
            <pc:docMk/>
            <pc:sldMasterMk cId="3393025497" sldId="2147483724"/>
            <pc:sldLayoutMk cId="4255998320" sldId="2147483750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20:40.805" v="16" actId="47"/>
          <pc:sldLayoutMkLst>
            <pc:docMk/>
            <pc:sldMasterMk cId="3393025497" sldId="2147483724"/>
            <pc:sldLayoutMk cId="530860106" sldId="2147483751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20:40.805" v="16" actId="47"/>
          <pc:sldLayoutMkLst>
            <pc:docMk/>
            <pc:sldMasterMk cId="3393025497" sldId="2147483724"/>
            <pc:sldLayoutMk cId="1178094738" sldId="2147483752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20:40.805" v="16" actId="47"/>
          <pc:sldLayoutMkLst>
            <pc:docMk/>
            <pc:sldMasterMk cId="3393025497" sldId="2147483724"/>
            <pc:sldLayoutMk cId="3819354414" sldId="2147483753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20:40.805" v="16" actId="47"/>
          <pc:sldLayoutMkLst>
            <pc:docMk/>
            <pc:sldMasterMk cId="3393025497" sldId="2147483724"/>
            <pc:sldLayoutMk cId="2424350073" sldId="2147483754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20:40.805" v="16" actId="47"/>
          <pc:sldLayoutMkLst>
            <pc:docMk/>
            <pc:sldMasterMk cId="3393025497" sldId="2147483724"/>
            <pc:sldLayoutMk cId="3189875621" sldId="2147483755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20:40.805" v="16" actId="47"/>
          <pc:sldLayoutMkLst>
            <pc:docMk/>
            <pc:sldMasterMk cId="3393025497" sldId="2147483724"/>
            <pc:sldLayoutMk cId="4100766226" sldId="2147483756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20:40.805" v="16" actId="47"/>
          <pc:sldLayoutMkLst>
            <pc:docMk/>
            <pc:sldMasterMk cId="3393025497" sldId="2147483724"/>
            <pc:sldLayoutMk cId="837527347" sldId="2147483757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20:40.805" v="16" actId="47"/>
          <pc:sldLayoutMkLst>
            <pc:docMk/>
            <pc:sldMasterMk cId="3393025497" sldId="2147483724"/>
            <pc:sldLayoutMk cId="2589392846" sldId="2147483758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20:40.805" v="16" actId="47"/>
          <pc:sldLayoutMkLst>
            <pc:docMk/>
            <pc:sldMasterMk cId="3393025497" sldId="2147483724"/>
            <pc:sldLayoutMk cId="30356889" sldId="2147483759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20:40.805" v="16" actId="47"/>
          <pc:sldLayoutMkLst>
            <pc:docMk/>
            <pc:sldMasterMk cId="3393025497" sldId="2147483724"/>
            <pc:sldLayoutMk cId="200044162" sldId="2147483760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20:40.805" v="16" actId="47"/>
          <pc:sldLayoutMkLst>
            <pc:docMk/>
            <pc:sldMasterMk cId="3393025497" sldId="2147483724"/>
            <pc:sldLayoutMk cId="4157364722" sldId="2147483761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20:40.805" v="16" actId="47"/>
          <pc:sldLayoutMkLst>
            <pc:docMk/>
            <pc:sldMasterMk cId="3393025497" sldId="2147483724"/>
            <pc:sldLayoutMk cId="465050882" sldId="2147483762"/>
          </pc:sldLayoutMkLst>
        </pc:sldLayoutChg>
      </pc:sldMasterChg>
      <pc:sldMasterChg chg="add del addSldLayout delSldLayout">
        <pc:chgData name="Lopez, Dave (BGA Aftmkt)" userId="3efd0e50-8734-4d76-9241-14ad2ed554f7" providerId="ADAL" clId="{51A3CEF3-8D54-45CE-A1B6-ADB8BB107BF3}" dt="2024-11-04T19:18:03.314" v="6" actId="47"/>
        <pc:sldMasterMkLst>
          <pc:docMk/>
          <pc:sldMasterMk cId="3960776764" sldId="2147483806"/>
        </pc:sldMasterMkLst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3960776764" sldId="2147483806"/>
            <pc:sldLayoutMk cId="485594097" sldId="2147483807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3960776764" sldId="2147483806"/>
            <pc:sldLayoutMk cId="695326152" sldId="2147483808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3960776764" sldId="2147483806"/>
            <pc:sldLayoutMk cId="1992752499" sldId="2147483809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3960776764" sldId="2147483806"/>
            <pc:sldLayoutMk cId="2375808454" sldId="2147483810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3960776764" sldId="2147483806"/>
            <pc:sldLayoutMk cId="3816360731" sldId="2147483811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3960776764" sldId="2147483806"/>
            <pc:sldLayoutMk cId="948145057" sldId="2147483812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3960776764" sldId="2147483806"/>
            <pc:sldLayoutMk cId="947557303" sldId="2147483813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3960776764" sldId="2147483806"/>
            <pc:sldLayoutMk cId="1054866427" sldId="2147483814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3960776764" sldId="2147483806"/>
            <pc:sldLayoutMk cId="3392036794" sldId="2147483815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3960776764" sldId="2147483806"/>
            <pc:sldLayoutMk cId="4189438863" sldId="2147483816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3960776764" sldId="2147483806"/>
            <pc:sldLayoutMk cId="1878209728" sldId="2147483817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3960776764" sldId="2147483806"/>
            <pc:sldLayoutMk cId="1383252049" sldId="2147483818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3960776764" sldId="2147483806"/>
            <pc:sldLayoutMk cId="3710800418" sldId="2147483819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3960776764" sldId="2147483806"/>
            <pc:sldLayoutMk cId="3433588592" sldId="2147483820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3960776764" sldId="2147483806"/>
            <pc:sldLayoutMk cId="1439212098" sldId="2147483821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3960776764" sldId="2147483806"/>
            <pc:sldLayoutMk cId="2001594396" sldId="2147483822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3960776764" sldId="2147483806"/>
            <pc:sldLayoutMk cId="2016970154" sldId="2147483823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3960776764" sldId="2147483806"/>
            <pc:sldLayoutMk cId="423732277" sldId="2147483824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3960776764" sldId="2147483806"/>
            <pc:sldLayoutMk cId="1583198652" sldId="2147483825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3960776764" sldId="2147483806"/>
            <pc:sldLayoutMk cId="2874754219" sldId="2147483826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3960776764" sldId="2147483806"/>
            <pc:sldLayoutMk cId="2614757856" sldId="2147483827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3960776764" sldId="2147483806"/>
            <pc:sldLayoutMk cId="142459879" sldId="2147483828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3960776764" sldId="2147483806"/>
            <pc:sldLayoutMk cId="3332320277" sldId="2147483829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3960776764" sldId="2147483806"/>
            <pc:sldLayoutMk cId="681784792" sldId="2147483830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3960776764" sldId="2147483806"/>
            <pc:sldLayoutMk cId="2561683134" sldId="2147483831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3960776764" sldId="2147483806"/>
            <pc:sldLayoutMk cId="1801912840" sldId="2147483832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3960776764" sldId="2147483806"/>
            <pc:sldLayoutMk cId="625990224" sldId="2147483833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3960776764" sldId="2147483806"/>
            <pc:sldLayoutMk cId="995805920" sldId="2147483834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3960776764" sldId="2147483806"/>
            <pc:sldLayoutMk cId="3250472487" sldId="2147483835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3960776764" sldId="2147483806"/>
            <pc:sldLayoutMk cId="2086399355" sldId="2147483836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3960776764" sldId="2147483806"/>
            <pc:sldLayoutMk cId="2469104622" sldId="2147483837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3960776764" sldId="2147483806"/>
            <pc:sldLayoutMk cId="2217636313" sldId="2147483838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3960776764" sldId="2147483806"/>
            <pc:sldLayoutMk cId="1438453225" sldId="2147483839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3960776764" sldId="2147483806"/>
            <pc:sldLayoutMk cId="2184658193" sldId="2147483840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3960776764" sldId="2147483806"/>
            <pc:sldLayoutMk cId="1557297472" sldId="2147483841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3960776764" sldId="2147483806"/>
            <pc:sldLayoutMk cId="3992898788" sldId="2147483842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3960776764" sldId="2147483806"/>
            <pc:sldLayoutMk cId="226419508" sldId="2147483843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3960776764" sldId="2147483806"/>
            <pc:sldLayoutMk cId="1354408923" sldId="2147483844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3960776764" sldId="2147483806"/>
            <pc:sldLayoutMk cId="2902014004" sldId="2147483845"/>
          </pc:sldLayoutMkLst>
        </pc:sldLayoutChg>
      </pc:sldMasterChg>
      <pc:sldMasterChg chg="add del addSldLayout delSldLayout">
        <pc:chgData name="Lopez, Dave (BGA Aftmkt)" userId="3efd0e50-8734-4d76-9241-14ad2ed554f7" providerId="ADAL" clId="{51A3CEF3-8D54-45CE-A1B6-ADB8BB107BF3}" dt="2024-11-04T19:17:43.575" v="5" actId="47"/>
        <pc:sldMasterMkLst>
          <pc:docMk/>
          <pc:sldMasterMk cId="1964538951" sldId="2147483846"/>
        </pc:sldMasterMkLst>
        <pc:sldLayoutChg chg="add del">
          <pc:chgData name="Lopez, Dave (BGA Aftmkt)" userId="3efd0e50-8734-4d76-9241-14ad2ed554f7" providerId="ADAL" clId="{51A3CEF3-8D54-45CE-A1B6-ADB8BB107BF3}" dt="2024-11-04T19:17:43.575" v="5" actId="47"/>
          <pc:sldLayoutMkLst>
            <pc:docMk/>
            <pc:sldMasterMk cId="1964538951" sldId="2147483846"/>
            <pc:sldLayoutMk cId="3571556093" sldId="2147483847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7:43.575" v="5" actId="47"/>
          <pc:sldLayoutMkLst>
            <pc:docMk/>
            <pc:sldMasterMk cId="1964538951" sldId="2147483846"/>
            <pc:sldLayoutMk cId="2450754419" sldId="2147483848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7:43.575" v="5" actId="47"/>
          <pc:sldLayoutMkLst>
            <pc:docMk/>
            <pc:sldMasterMk cId="1964538951" sldId="2147483846"/>
            <pc:sldLayoutMk cId="571527943" sldId="2147483849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7:43.575" v="5" actId="47"/>
          <pc:sldLayoutMkLst>
            <pc:docMk/>
            <pc:sldMasterMk cId="1964538951" sldId="2147483846"/>
            <pc:sldLayoutMk cId="3613796518" sldId="2147483850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7:43.575" v="5" actId="47"/>
          <pc:sldLayoutMkLst>
            <pc:docMk/>
            <pc:sldMasterMk cId="1964538951" sldId="2147483846"/>
            <pc:sldLayoutMk cId="3644232193" sldId="2147483851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7:43.575" v="5" actId="47"/>
          <pc:sldLayoutMkLst>
            <pc:docMk/>
            <pc:sldMasterMk cId="1964538951" sldId="2147483846"/>
            <pc:sldLayoutMk cId="3673388823" sldId="2147483852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7:43.575" v="5" actId="47"/>
          <pc:sldLayoutMkLst>
            <pc:docMk/>
            <pc:sldMasterMk cId="1964538951" sldId="2147483846"/>
            <pc:sldLayoutMk cId="202735309" sldId="2147483853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7:43.575" v="5" actId="47"/>
          <pc:sldLayoutMkLst>
            <pc:docMk/>
            <pc:sldMasterMk cId="1964538951" sldId="2147483846"/>
            <pc:sldLayoutMk cId="2437973010" sldId="2147483854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7:43.575" v="5" actId="47"/>
          <pc:sldLayoutMkLst>
            <pc:docMk/>
            <pc:sldMasterMk cId="1964538951" sldId="2147483846"/>
            <pc:sldLayoutMk cId="993659736" sldId="2147483855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7:43.575" v="5" actId="47"/>
          <pc:sldLayoutMkLst>
            <pc:docMk/>
            <pc:sldMasterMk cId="1964538951" sldId="2147483846"/>
            <pc:sldLayoutMk cId="3224685243" sldId="2147483856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7:43.575" v="5" actId="47"/>
          <pc:sldLayoutMkLst>
            <pc:docMk/>
            <pc:sldMasterMk cId="1964538951" sldId="2147483846"/>
            <pc:sldLayoutMk cId="3933813276" sldId="2147483857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7:43.575" v="5" actId="47"/>
          <pc:sldLayoutMkLst>
            <pc:docMk/>
            <pc:sldMasterMk cId="1964538951" sldId="2147483846"/>
            <pc:sldLayoutMk cId="1545577010" sldId="2147483858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7:43.575" v="5" actId="47"/>
          <pc:sldLayoutMkLst>
            <pc:docMk/>
            <pc:sldMasterMk cId="1964538951" sldId="2147483846"/>
            <pc:sldLayoutMk cId="3012059428" sldId="2147483859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7:43.575" v="5" actId="47"/>
          <pc:sldLayoutMkLst>
            <pc:docMk/>
            <pc:sldMasterMk cId="1964538951" sldId="2147483846"/>
            <pc:sldLayoutMk cId="3046771490" sldId="2147483860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7:43.575" v="5" actId="47"/>
          <pc:sldLayoutMkLst>
            <pc:docMk/>
            <pc:sldMasterMk cId="1964538951" sldId="2147483846"/>
            <pc:sldLayoutMk cId="2570230528" sldId="2147483861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7:43.575" v="5" actId="47"/>
          <pc:sldLayoutMkLst>
            <pc:docMk/>
            <pc:sldMasterMk cId="1964538951" sldId="2147483846"/>
            <pc:sldLayoutMk cId="3471750142" sldId="2147483862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7:43.575" v="5" actId="47"/>
          <pc:sldLayoutMkLst>
            <pc:docMk/>
            <pc:sldMasterMk cId="1964538951" sldId="2147483846"/>
            <pc:sldLayoutMk cId="2711508879" sldId="2147483863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7:43.575" v="5" actId="47"/>
          <pc:sldLayoutMkLst>
            <pc:docMk/>
            <pc:sldMasterMk cId="1964538951" sldId="2147483846"/>
            <pc:sldLayoutMk cId="2418368896" sldId="2147483864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7:43.575" v="5" actId="47"/>
          <pc:sldLayoutMkLst>
            <pc:docMk/>
            <pc:sldMasterMk cId="1964538951" sldId="2147483846"/>
            <pc:sldLayoutMk cId="3703177368" sldId="2147483865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7:43.575" v="5" actId="47"/>
          <pc:sldLayoutMkLst>
            <pc:docMk/>
            <pc:sldMasterMk cId="1964538951" sldId="2147483846"/>
            <pc:sldLayoutMk cId="4025062495" sldId="2147483866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7:43.575" v="5" actId="47"/>
          <pc:sldLayoutMkLst>
            <pc:docMk/>
            <pc:sldMasterMk cId="1964538951" sldId="2147483846"/>
            <pc:sldLayoutMk cId="2358450977" sldId="2147483867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7:43.575" v="5" actId="47"/>
          <pc:sldLayoutMkLst>
            <pc:docMk/>
            <pc:sldMasterMk cId="1964538951" sldId="2147483846"/>
            <pc:sldLayoutMk cId="3279883890" sldId="2147483868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7:43.575" v="5" actId="47"/>
          <pc:sldLayoutMkLst>
            <pc:docMk/>
            <pc:sldMasterMk cId="1964538951" sldId="2147483846"/>
            <pc:sldLayoutMk cId="9590080" sldId="2147483869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7:43.575" v="5" actId="47"/>
          <pc:sldLayoutMkLst>
            <pc:docMk/>
            <pc:sldMasterMk cId="1964538951" sldId="2147483846"/>
            <pc:sldLayoutMk cId="3313454030" sldId="2147483870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7:43.575" v="5" actId="47"/>
          <pc:sldLayoutMkLst>
            <pc:docMk/>
            <pc:sldMasterMk cId="1964538951" sldId="2147483846"/>
            <pc:sldLayoutMk cId="3949962266" sldId="2147483871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7:43.575" v="5" actId="47"/>
          <pc:sldLayoutMkLst>
            <pc:docMk/>
            <pc:sldMasterMk cId="1964538951" sldId="2147483846"/>
            <pc:sldLayoutMk cId="2828976444" sldId="2147483872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7:43.575" v="5" actId="47"/>
          <pc:sldLayoutMkLst>
            <pc:docMk/>
            <pc:sldMasterMk cId="1964538951" sldId="2147483846"/>
            <pc:sldLayoutMk cId="684349107" sldId="2147483873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7:43.575" v="5" actId="47"/>
          <pc:sldLayoutMkLst>
            <pc:docMk/>
            <pc:sldMasterMk cId="1964538951" sldId="2147483846"/>
            <pc:sldLayoutMk cId="3270456465" sldId="2147483874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7:43.575" v="5" actId="47"/>
          <pc:sldLayoutMkLst>
            <pc:docMk/>
            <pc:sldMasterMk cId="1964538951" sldId="2147483846"/>
            <pc:sldLayoutMk cId="2006180550" sldId="2147483875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7:43.575" v="5" actId="47"/>
          <pc:sldLayoutMkLst>
            <pc:docMk/>
            <pc:sldMasterMk cId="1964538951" sldId="2147483846"/>
            <pc:sldLayoutMk cId="1934915868" sldId="2147483876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7:43.575" v="5" actId="47"/>
          <pc:sldLayoutMkLst>
            <pc:docMk/>
            <pc:sldMasterMk cId="1964538951" sldId="2147483846"/>
            <pc:sldLayoutMk cId="4148549175" sldId="2147483877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7:43.575" v="5" actId="47"/>
          <pc:sldLayoutMkLst>
            <pc:docMk/>
            <pc:sldMasterMk cId="1964538951" sldId="2147483846"/>
            <pc:sldLayoutMk cId="2130645684" sldId="2147483878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7:43.575" v="5" actId="47"/>
          <pc:sldLayoutMkLst>
            <pc:docMk/>
            <pc:sldMasterMk cId="1964538951" sldId="2147483846"/>
            <pc:sldLayoutMk cId="676780049" sldId="2147483879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7:43.575" v="5" actId="47"/>
          <pc:sldLayoutMkLst>
            <pc:docMk/>
            <pc:sldMasterMk cId="1964538951" sldId="2147483846"/>
            <pc:sldLayoutMk cId="81076509" sldId="2147483880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7:43.575" v="5" actId="47"/>
          <pc:sldLayoutMkLst>
            <pc:docMk/>
            <pc:sldMasterMk cId="1964538951" sldId="2147483846"/>
            <pc:sldLayoutMk cId="396740933" sldId="2147483881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7:43.575" v="5" actId="47"/>
          <pc:sldLayoutMkLst>
            <pc:docMk/>
            <pc:sldMasterMk cId="1964538951" sldId="2147483846"/>
            <pc:sldLayoutMk cId="3369197869" sldId="2147483882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7:43.575" v="5" actId="47"/>
          <pc:sldLayoutMkLst>
            <pc:docMk/>
            <pc:sldMasterMk cId="1964538951" sldId="2147483846"/>
            <pc:sldLayoutMk cId="3577473419" sldId="2147483883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7:43.575" v="5" actId="47"/>
          <pc:sldLayoutMkLst>
            <pc:docMk/>
            <pc:sldMasterMk cId="1964538951" sldId="2147483846"/>
            <pc:sldLayoutMk cId="4239521949" sldId="2147483884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7:43.575" v="5" actId="47"/>
          <pc:sldLayoutMkLst>
            <pc:docMk/>
            <pc:sldMasterMk cId="1964538951" sldId="2147483846"/>
            <pc:sldLayoutMk cId="2937225651" sldId="2147483885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7:43.575" v="5" actId="47"/>
          <pc:sldLayoutMkLst>
            <pc:docMk/>
            <pc:sldMasterMk cId="1964538951" sldId="2147483846"/>
            <pc:sldLayoutMk cId="3604483448" sldId="2147483886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7:43.575" v="5" actId="47"/>
          <pc:sldLayoutMkLst>
            <pc:docMk/>
            <pc:sldMasterMk cId="1964538951" sldId="2147483846"/>
            <pc:sldLayoutMk cId="318189204" sldId="2147483887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7:43.575" v="5" actId="47"/>
          <pc:sldLayoutMkLst>
            <pc:docMk/>
            <pc:sldMasterMk cId="1964538951" sldId="2147483846"/>
            <pc:sldLayoutMk cId="666662625" sldId="2147483888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7:43.575" v="5" actId="47"/>
          <pc:sldLayoutMkLst>
            <pc:docMk/>
            <pc:sldMasterMk cId="1964538951" sldId="2147483846"/>
            <pc:sldLayoutMk cId="959634190" sldId="2147483889"/>
          </pc:sldLayoutMkLst>
        </pc:sldLayoutChg>
      </pc:sldMasterChg>
      <pc:sldMasterChg chg="add del addSldLayout delSldLayout">
        <pc:chgData name="Lopez, Dave (BGA Aftmkt)" userId="3efd0e50-8734-4d76-9241-14ad2ed554f7" providerId="ADAL" clId="{51A3CEF3-8D54-45CE-A1B6-ADB8BB107BF3}" dt="2024-11-04T19:18:03.314" v="6" actId="47"/>
        <pc:sldMasterMkLst>
          <pc:docMk/>
          <pc:sldMasterMk cId="1462220760" sldId="2147483890"/>
        </pc:sldMasterMkLst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462220760" sldId="2147483890"/>
            <pc:sldLayoutMk cId="1205739158" sldId="2147483891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462220760" sldId="2147483890"/>
            <pc:sldLayoutMk cId="509773713" sldId="2147483892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462220760" sldId="2147483890"/>
            <pc:sldLayoutMk cId="2338743613" sldId="2147483893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462220760" sldId="2147483890"/>
            <pc:sldLayoutMk cId="3597780342" sldId="2147483894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462220760" sldId="2147483890"/>
            <pc:sldLayoutMk cId="1154353594" sldId="2147483895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462220760" sldId="2147483890"/>
            <pc:sldLayoutMk cId="2740387707" sldId="2147483896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462220760" sldId="2147483890"/>
            <pc:sldLayoutMk cId="963193113" sldId="2147483897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462220760" sldId="2147483890"/>
            <pc:sldLayoutMk cId="1607199983" sldId="2147483898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462220760" sldId="2147483890"/>
            <pc:sldLayoutMk cId="2250254857" sldId="2147483899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462220760" sldId="2147483890"/>
            <pc:sldLayoutMk cId="955302903" sldId="2147483900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462220760" sldId="2147483890"/>
            <pc:sldLayoutMk cId="2705213725" sldId="2147483901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462220760" sldId="2147483890"/>
            <pc:sldLayoutMk cId="2984696428" sldId="2147483902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462220760" sldId="2147483890"/>
            <pc:sldLayoutMk cId="3164529473" sldId="2147483903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462220760" sldId="2147483890"/>
            <pc:sldLayoutMk cId="2794023150" sldId="2147483904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462220760" sldId="2147483890"/>
            <pc:sldLayoutMk cId="2947886521" sldId="2147483905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462220760" sldId="2147483890"/>
            <pc:sldLayoutMk cId="3636939631" sldId="2147483906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462220760" sldId="2147483890"/>
            <pc:sldLayoutMk cId="3087152632" sldId="2147483907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462220760" sldId="2147483890"/>
            <pc:sldLayoutMk cId="1472972604" sldId="2147483908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462220760" sldId="2147483890"/>
            <pc:sldLayoutMk cId="2251105397" sldId="2147483909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462220760" sldId="2147483890"/>
            <pc:sldLayoutMk cId="239852074" sldId="2147483910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462220760" sldId="2147483890"/>
            <pc:sldLayoutMk cId="1586653080" sldId="2147483911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462220760" sldId="2147483890"/>
            <pc:sldLayoutMk cId="222395559" sldId="2147483912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462220760" sldId="2147483890"/>
            <pc:sldLayoutMk cId="2865595347" sldId="2147483913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462220760" sldId="2147483890"/>
            <pc:sldLayoutMk cId="1029195274" sldId="2147483914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462220760" sldId="2147483890"/>
            <pc:sldLayoutMk cId="3017878133" sldId="2147483915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462220760" sldId="2147483890"/>
            <pc:sldLayoutMk cId="3132046286" sldId="2147483916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462220760" sldId="2147483890"/>
            <pc:sldLayoutMk cId="1644681074" sldId="2147483917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462220760" sldId="2147483890"/>
            <pc:sldLayoutMk cId="200597389" sldId="2147483918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462220760" sldId="2147483890"/>
            <pc:sldLayoutMk cId="2791850244" sldId="2147483919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462220760" sldId="2147483890"/>
            <pc:sldLayoutMk cId="3459906015" sldId="2147483920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462220760" sldId="2147483890"/>
            <pc:sldLayoutMk cId="1152665324" sldId="2147483921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462220760" sldId="2147483890"/>
            <pc:sldLayoutMk cId="2209426647" sldId="2147483922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462220760" sldId="2147483890"/>
            <pc:sldLayoutMk cId="3301891871" sldId="2147483923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462220760" sldId="2147483890"/>
            <pc:sldLayoutMk cId="1516787496" sldId="2147483924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462220760" sldId="2147483890"/>
            <pc:sldLayoutMk cId="3489301943" sldId="2147483925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462220760" sldId="2147483890"/>
            <pc:sldLayoutMk cId="1515818685" sldId="2147483926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462220760" sldId="2147483890"/>
            <pc:sldLayoutMk cId="1545236260" sldId="2147483927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462220760" sldId="2147483890"/>
            <pc:sldLayoutMk cId="4101678727" sldId="2147483928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462220760" sldId="2147483890"/>
            <pc:sldLayoutMk cId="492301885" sldId="2147483929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462220760" sldId="2147483890"/>
            <pc:sldLayoutMk cId="2636219130" sldId="2147483930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462220760" sldId="2147483890"/>
            <pc:sldLayoutMk cId="2691055745" sldId="2147483931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462220760" sldId="2147483890"/>
            <pc:sldLayoutMk cId="2571576560" sldId="2147483932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462220760" sldId="2147483890"/>
            <pc:sldLayoutMk cId="2216578515" sldId="2147483933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462220760" sldId="2147483890"/>
            <pc:sldLayoutMk cId="26272213" sldId="2147483934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462220760" sldId="2147483890"/>
            <pc:sldLayoutMk cId="1950979561" sldId="2147483935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462220760" sldId="2147483890"/>
            <pc:sldLayoutMk cId="1224343518" sldId="2147483936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462220760" sldId="2147483890"/>
            <pc:sldLayoutMk cId="2872343451" sldId="2147483937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462220760" sldId="2147483890"/>
            <pc:sldLayoutMk cId="3830749192" sldId="2147483938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462220760" sldId="2147483890"/>
            <pc:sldLayoutMk cId="289210517" sldId="2147483939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462220760" sldId="2147483890"/>
            <pc:sldLayoutMk cId="3206270449" sldId="2147483940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462220760" sldId="2147483890"/>
            <pc:sldLayoutMk cId="2699697644" sldId="2147483941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462220760" sldId="2147483890"/>
            <pc:sldLayoutMk cId="1552075867" sldId="2147483942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462220760" sldId="2147483890"/>
            <pc:sldLayoutMk cId="2675307707" sldId="2147483944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462220760" sldId="2147483890"/>
            <pc:sldLayoutMk cId="2843800250" sldId="2147483945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462220760" sldId="2147483890"/>
            <pc:sldLayoutMk cId="586950103" sldId="2147483946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462220760" sldId="2147483890"/>
            <pc:sldLayoutMk cId="6194489" sldId="2147483947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462220760" sldId="2147483890"/>
            <pc:sldLayoutMk cId="1403032152" sldId="2147483948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462220760" sldId="2147483890"/>
            <pc:sldLayoutMk cId="1791841685" sldId="2147483949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462220760" sldId="2147483890"/>
            <pc:sldLayoutMk cId="788482130" sldId="2147483950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462220760" sldId="2147483890"/>
            <pc:sldLayoutMk cId="3110877920" sldId="2147483951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462220760" sldId="2147483890"/>
            <pc:sldLayoutMk cId="3606384561" sldId="2147483952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462220760" sldId="2147483890"/>
            <pc:sldLayoutMk cId="618364730" sldId="2147483953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462220760" sldId="2147483890"/>
            <pc:sldLayoutMk cId="869644148" sldId="2147483954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462220760" sldId="2147483890"/>
            <pc:sldLayoutMk cId="2900338385" sldId="2147483955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462220760" sldId="2147483890"/>
            <pc:sldLayoutMk cId="2466007199" sldId="2147483956"/>
          </pc:sldLayoutMkLst>
        </pc:sldLayoutChg>
      </pc:sldMasterChg>
      <pc:sldMasterChg chg="add del addSldLayout delSldLayout">
        <pc:chgData name="Lopez, Dave (BGA Aftmkt)" userId="3efd0e50-8734-4d76-9241-14ad2ed554f7" providerId="ADAL" clId="{51A3CEF3-8D54-45CE-A1B6-ADB8BB107BF3}" dt="2024-11-04T19:18:03.314" v="6" actId="47"/>
        <pc:sldMasterMkLst>
          <pc:docMk/>
          <pc:sldMasterMk cId="785037790" sldId="2147484034"/>
        </pc:sldMasterMkLst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785037790" sldId="2147484034"/>
            <pc:sldLayoutMk cId="3084425810" sldId="2147484035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785037790" sldId="2147484034"/>
            <pc:sldLayoutMk cId="2026197992" sldId="2147484036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785037790" sldId="2147484034"/>
            <pc:sldLayoutMk cId="4268845637" sldId="2147484037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785037790" sldId="2147484034"/>
            <pc:sldLayoutMk cId="3142526259" sldId="2147484038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785037790" sldId="2147484034"/>
            <pc:sldLayoutMk cId="4087529740" sldId="2147484039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785037790" sldId="2147484034"/>
            <pc:sldLayoutMk cId="874174860" sldId="2147484040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785037790" sldId="2147484034"/>
            <pc:sldLayoutMk cId="1959909530" sldId="2147484041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785037790" sldId="2147484034"/>
            <pc:sldLayoutMk cId="2919601723" sldId="2147484042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785037790" sldId="2147484034"/>
            <pc:sldLayoutMk cId="1740533313" sldId="2147484043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785037790" sldId="2147484034"/>
            <pc:sldLayoutMk cId="2655274884" sldId="2147484044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785037790" sldId="2147484034"/>
            <pc:sldLayoutMk cId="1514316490" sldId="2147484045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785037790" sldId="2147484034"/>
            <pc:sldLayoutMk cId="3364779838" sldId="2147484046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785037790" sldId="2147484034"/>
            <pc:sldLayoutMk cId="3829209826" sldId="2147484047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785037790" sldId="2147484034"/>
            <pc:sldLayoutMk cId="1515098407" sldId="2147484048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785037790" sldId="2147484034"/>
            <pc:sldLayoutMk cId="1102751374" sldId="2147484049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785037790" sldId="2147484034"/>
            <pc:sldLayoutMk cId="2912426253" sldId="2147484050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785037790" sldId="2147484034"/>
            <pc:sldLayoutMk cId="2502574383" sldId="2147484051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785037790" sldId="2147484034"/>
            <pc:sldLayoutMk cId="1228390400" sldId="2147484052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785037790" sldId="2147484034"/>
            <pc:sldLayoutMk cId="81574290" sldId="2147484053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785037790" sldId="2147484034"/>
            <pc:sldLayoutMk cId="1984957393" sldId="2147484054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785037790" sldId="2147484034"/>
            <pc:sldLayoutMk cId="2546917369" sldId="2147484055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785037790" sldId="2147484034"/>
            <pc:sldLayoutMk cId="1911051152" sldId="2147484056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785037790" sldId="2147484034"/>
            <pc:sldLayoutMk cId="1558956972" sldId="2147484057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785037790" sldId="2147484034"/>
            <pc:sldLayoutMk cId="3838330634" sldId="2147484058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785037790" sldId="2147484034"/>
            <pc:sldLayoutMk cId="2940876375" sldId="2147484059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785037790" sldId="2147484034"/>
            <pc:sldLayoutMk cId="2780684535" sldId="2147484060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785037790" sldId="2147484034"/>
            <pc:sldLayoutMk cId="1984070388" sldId="2147484061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785037790" sldId="2147484034"/>
            <pc:sldLayoutMk cId="341835804" sldId="2147484062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785037790" sldId="2147484034"/>
            <pc:sldLayoutMk cId="4181849776" sldId="2147484063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785037790" sldId="2147484034"/>
            <pc:sldLayoutMk cId="2852691465" sldId="2147484064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785037790" sldId="2147484034"/>
            <pc:sldLayoutMk cId="1312462147" sldId="2147484065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785037790" sldId="2147484034"/>
            <pc:sldLayoutMk cId="3471561397" sldId="2147484066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785037790" sldId="2147484034"/>
            <pc:sldLayoutMk cId="3222787106" sldId="2147484067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785037790" sldId="2147484034"/>
            <pc:sldLayoutMk cId="2737841129" sldId="2147484068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785037790" sldId="2147484034"/>
            <pc:sldLayoutMk cId="3040090187" sldId="2147484069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785037790" sldId="2147484034"/>
            <pc:sldLayoutMk cId="1123794371" sldId="2147484070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785037790" sldId="2147484034"/>
            <pc:sldLayoutMk cId="3259600116" sldId="2147484071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785037790" sldId="2147484034"/>
            <pc:sldLayoutMk cId="865789198" sldId="2147484072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785037790" sldId="2147484034"/>
            <pc:sldLayoutMk cId="1243322357" sldId="2147484073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785037790" sldId="2147484034"/>
            <pc:sldLayoutMk cId="3501330900" sldId="2147484074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785037790" sldId="2147484034"/>
            <pc:sldLayoutMk cId="3746878833" sldId="2147484075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785037790" sldId="2147484034"/>
            <pc:sldLayoutMk cId="4168748556" sldId="2147484076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785037790" sldId="2147484034"/>
            <pc:sldLayoutMk cId="2616427972" sldId="2147484077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785037790" sldId="2147484034"/>
            <pc:sldLayoutMk cId="1521062452" sldId="2147484078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785037790" sldId="2147484034"/>
            <pc:sldLayoutMk cId="1553569244" sldId="2147484079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785037790" sldId="2147484034"/>
            <pc:sldLayoutMk cId="2683014855" sldId="2147484080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785037790" sldId="2147484034"/>
            <pc:sldLayoutMk cId="1803507840" sldId="2147484081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785037790" sldId="2147484034"/>
            <pc:sldLayoutMk cId="805234386" sldId="2147484082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785037790" sldId="2147484034"/>
            <pc:sldLayoutMk cId="3907673412" sldId="2147484083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785037790" sldId="2147484034"/>
            <pc:sldLayoutMk cId="1956219908" sldId="2147484084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785037790" sldId="2147484034"/>
            <pc:sldLayoutMk cId="3204202528" sldId="2147484085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785037790" sldId="2147484034"/>
            <pc:sldLayoutMk cId="3728764156" sldId="2147484086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785037790" sldId="2147484034"/>
            <pc:sldLayoutMk cId="1531740542" sldId="2147484087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785037790" sldId="2147484034"/>
            <pc:sldLayoutMk cId="1196286421" sldId="2147484088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785037790" sldId="2147484034"/>
            <pc:sldLayoutMk cId="923718368" sldId="2147484089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785037790" sldId="2147484034"/>
            <pc:sldLayoutMk cId="4285988828" sldId="2147484090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785037790" sldId="2147484034"/>
            <pc:sldLayoutMk cId="2440238542" sldId="2147484091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785037790" sldId="2147484034"/>
            <pc:sldLayoutMk cId="1807632630" sldId="2147484092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785037790" sldId="2147484034"/>
            <pc:sldLayoutMk cId="748300356" sldId="2147484093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785037790" sldId="2147484034"/>
            <pc:sldLayoutMk cId="3833342326" sldId="2147484094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785037790" sldId="2147484034"/>
            <pc:sldLayoutMk cId="2314665952" sldId="2147484095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785037790" sldId="2147484034"/>
            <pc:sldLayoutMk cId="94016137" sldId="2147484096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785037790" sldId="2147484034"/>
            <pc:sldLayoutMk cId="3541776223" sldId="2147484097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785037790" sldId="2147484034"/>
            <pc:sldLayoutMk cId="284700278" sldId="2147484098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785037790" sldId="2147484034"/>
            <pc:sldLayoutMk cId="3569708777" sldId="2147484099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785037790" sldId="2147484034"/>
            <pc:sldLayoutMk cId="1867448277" sldId="2147484100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785037790" sldId="2147484034"/>
            <pc:sldLayoutMk cId="4020758083" sldId="2147484101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785037790" sldId="2147484034"/>
            <pc:sldLayoutMk cId="4041797607" sldId="2147484102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785037790" sldId="2147484034"/>
            <pc:sldLayoutMk cId="1000234586" sldId="2147484103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785037790" sldId="2147484034"/>
            <pc:sldLayoutMk cId="2796284407" sldId="2147484104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785037790" sldId="2147484034"/>
            <pc:sldLayoutMk cId="4012785556" sldId="2147484105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785037790" sldId="2147484034"/>
            <pc:sldLayoutMk cId="2696843934" sldId="2147484106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785037790" sldId="2147484034"/>
            <pc:sldLayoutMk cId="1835794218" sldId="2147484107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785037790" sldId="2147484034"/>
            <pc:sldLayoutMk cId="3462037520" sldId="2147484108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785037790" sldId="2147484034"/>
            <pc:sldLayoutMk cId="2295458861" sldId="2147484109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785037790" sldId="2147484034"/>
            <pc:sldLayoutMk cId="1980752136" sldId="2147484110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785037790" sldId="2147484034"/>
            <pc:sldLayoutMk cId="1772755393" sldId="2147484111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785037790" sldId="2147484034"/>
            <pc:sldLayoutMk cId="2059340868" sldId="2147484112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785037790" sldId="2147484034"/>
            <pc:sldLayoutMk cId="3871008931" sldId="2147484113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785037790" sldId="2147484034"/>
            <pc:sldLayoutMk cId="3685875741" sldId="2147484114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785037790" sldId="2147484034"/>
            <pc:sldLayoutMk cId="2405964387" sldId="2147484115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785037790" sldId="2147484034"/>
            <pc:sldLayoutMk cId="1377325865" sldId="2147484116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785037790" sldId="2147484034"/>
            <pc:sldLayoutMk cId="1051396120" sldId="2147484117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785037790" sldId="2147484034"/>
            <pc:sldLayoutMk cId="217713487" sldId="2147484118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785037790" sldId="2147484034"/>
            <pc:sldLayoutMk cId="3502675350" sldId="2147484119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785037790" sldId="2147484034"/>
            <pc:sldLayoutMk cId="3423276166" sldId="2147484120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785037790" sldId="2147484034"/>
            <pc:sldLayoutMk cId="1863395792" sldId="2147484121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785037790" sldId="2147484034"/>
            <pc:sldLayoutMk cId="2854477326" sldId="2147484122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785037790" sldId="2147484034"/>
            <pc:sldLayoutMk cId="2942520404" sldId="2147484123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785037790" sldId="2147484034"/>
            <pc:sldLayoutMk cId="1162443617" sldId="2147484124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785037790" sldId="2147484034"/>
            <pc:sldLayoutMk cId="1911682058" sldId="2147484125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785037790" sldId="2147484034"/>
            <pc:sldLayoutMk cId="2418160633" sldId="2147484126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785037790" sldId="2147484034"/>
            <pc:sldLayoutMk cId="26943377" sldId="2147484127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785037790" sldId="2147484034"/>
            <pc:sldLayoutMk cId="734488274" sldId="2147484128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785037790" sldId="2147484034"/>
            <pc:sldLayoutMk cId="1958964855" sldId="2147484129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785037790" sldId="2147484034"/>
            <pc:sldLayoutMk cId="1549749962" sldId="2147484130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785037790" sldId="2147484034"/>
            <pc:sldLayoutMk cId="515024262" sldId="2147484131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785037790" sldId="2147484034"/>
            <pc:sldLayoutMk cId="3237040926" sldId="2147484132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785037790" sldId="2147484034"/>
            <pc:sldLayoutMk cId="3672772981" sldId="2147484133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785037790" sldId="2147484034"/>
            <pc:sldLayoutMk cId="786777378" sldId="2147484134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785037790" sldId="2147484034"/>
            <pc:sldLayoutMk cId="3248888309" sldId="2147484135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785037790" sldId="2147484034"/>
            <pc:sldLayoutMk cId="3986952406" sldId="2147484136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785037790" sldId="2147484034"/>
            <pc:sldLayoutMk cId="125894932" sldId="2147484137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785037790" sldId="2147484034"/>
            <pc:sldLayoutMk cId="3619959617" sldId="2147484138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785037790" sldId="2147484034"/>
            <pc:sldLayoutMk cId="3484870715" sldId="2147484139"/>
          </pc:sldLayoutMkLst>
        </pc:sldLayoutChg>
      </pc:sldMasterChg>
      <pc:sldMasterChg chg="add del addSldLayout delSldLayout">
        <pc:chgData name="Lopez, Dave (BGA Aftmkt)" userId="3efd0e50-8734-4d76-9241-14ad2ed554f7" providerId="ADAL" clId="{51A3CEF3-8D54-45CE-A1B6-ADB8BB107BF3}" dt="2024-11-04T19:18:03.314" v="6" actId="47"/>
        <pc:sldMasterMkLst>
          <pc:docMk/>
          <pc:sldMasterMk cId="1100885400" sldId="2147484140"/>
        </pc:sldMasterMkLst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100885400" sldId="2147484140"/>
            <pc:sldLayoutMk cId="2274538502" sldId="2147484141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100885400" sldId="2147484140"/>
            <pc:sldLayoutMk cId="396725330" sldId="2147484142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100885400" sldId="2147484140"/>
            <pc:sldLayoutMk cId="96264117" sldId="2147484143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100885400" sldId="2147484140"/>
            <pc:sldLayoutMk cId="3398747640" sldId="2147484144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100885400" sldId="2147484140"/>
            <pc:sldLayoutMk cId="10458318" sldId="2147484145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100885400" sldId="2147484140"/>
            <pc:sldLayoutMk cId="775200934" sldId="2147484146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100885400" sldId="2147484140"/>
            <pc:sldLayoutMk cId="2550484684" sldId="2147484147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100885400" sldId="2147484140"/>
            <pc:sldLayoutMk cId="1742531992" sldId="2147484148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100885400" sldId="2147484140"/>
            <pc:sldLayoutMk cId="2471080286" sldId="2147484149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100885400" sldId="2147484140"/>
            <pc:sldLayoutMk cId="274988972" sldId="2147484150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100885400" sldId="2147484140"/>
            <pc:sldLayoutMk cId="1494149733" sldId="2147484151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100885400" sldId="2147484140"/>
            <pc:sldLayoutMk cId="1282525554" sldId="2147484152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100885400" sldId="2147484140"/>
            <pc:sldLayoutMk cId="3817285517" sldId="2147484153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100885400" sldId="2147484140"/>
            <pc:sldLayoutMk cId="1875176419" sldId="2147484154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100885400" sldId="2147484140"/>
            <pc:sldLayoutMk cId="3870291145" sldId="2147484155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100885400" sldId="2147484140"/>
            <pc:sldLayoutMk cId="1338800906" sldId="2147484156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100885400" sldId="2147484140"/>
            <pc:sldLayoutMk cId="2828733667" sldId="2147484157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100885400" sldId="2147484140"/>
            <pc:sldLayoutMk cId="787380909" sldId="2147484158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100885400" sldId="2147484140"/>
            <pc:sldLayoutMk cId="532868378" sldId="2147484159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100885400" sldId="2147484140"/>
            <pc:sldLayoutMk cId="1315468742" sldId="2147484160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100885400" sldId="2147484140"/>
            <pc:sldLayoutMk cId="1256570463" sldId="2147484161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100885400" sldId="2147484140"/>
            <pc:sldLayoutMk cId="814717931" sldId="2147484162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100885400" sldId="2147484140"/>
            <pc:sldLayoutMk cId="4129080535" sldId="2147484163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100885400" sldId="2147484140"/>
            <pc:sldLayoutMk cId="3653066133" sldId="2147484164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100885400" sldId="2147484140"/>
            <pc:sldLayoutMk cId="4031576331" sldId="2147484165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100885400" sldId="2147484140"/>
            <pc:sldLayoutMk cId="40395428" sldId="2147484166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100885400" sldId="2147484140"/>
            <pc:sldLayoutMk cId="2198616297" sldId="2147484167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100885400" sldId="2147484140"/>
            <pc:sldLayoutMk cId="1326191943" sldId="2147484168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100885400" sldId="2147484140"/>
            <pc:sldLayoutMk cId="3311639318" sldId="2147484169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100885400" sldId="2147484140"/>
            <pc:sldLayoutMk cId="1196210063" sldId="2147484170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100885400" sldId="2147484140"/>
            <pc:sldLayoutMk cId="1618183149" sldId="2147484171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100885400" sldId="2147484140"/>
            <pc:sldLayoutMk cId="2389725924" sldId="2147484172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100885400" sldId="2147484140"/>
            <pc:sldLayoutMk cId="3739741600" sldId="2147484173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100885400" sldId="2147484140"/>
            <pc:sldLayoutMk cId="3310469597" sldId="2147484174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100885400" sldId="2147484140"/>
            <pc:sldLayoutMk cId="3732371549" sldId="2147484175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100885400" sldId="2147484140"/>
            <pc:sldLayoutMk cId="3649143814" sldId="2147484176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100885400" sldId="2147484140"/>
            <pc:sldLayoutMk cId="3595323991" sldId="2147484177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100885400" sldId="2147484140"/>
            <pc:sldLayoutMk cId="1334382247" sldId="2147484178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100885400" sldId="2147484140"/>
            <pc:sldLayoutMk cId="3448710762" sldId="2147484179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100885400" sldId="2147484140"/>
            <pc:sldLayoutMk cId="1791985021" sldId="2147484180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100885400" sldId="2147484140"/>
            <pc:sldLayoutMk cId="1885965628" sldId="2147484181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100885400" sldId="2147484140"/>
            <pc:sldLayoutMk cId="1759673294" sldId="2147484182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100885400" sldId="2147484140"/>
            <pc:sldLayoutMk cId="2600816244" sldId="2147484183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18:03.314" v="6" actId="47"/>
          <pc:sldLayoutMkLst>
            <pc:docMk/>
            <pc:sldMasterMk cId="1100885400" sldId="2147484140"/>
            <pc:sldLayoutMk cId="800907928" sldId="2147484184"/>
          </pc:sldLayoutMkLst>
        </pc:sldLayoutChg>
      </pc:sldMasterChg>
      <pc:sldMasterChg chg="add del addSldLayout delSldLayout">
        <pc:chgData name="Lopez, Dave (BGA Aftmkt)" userId="3efd0e50-8734-4d76-9241-14ad2ed554f7" providerId="ADAL" clId="{51A3CEF3-8D54-45CE-A1B6-ADB8BB107BF3}" dt="2024-11-07T17:27:01.903" v="2300" actId="47"/>
        <pc:sldMasterMkLst>
          <pc:docMk/>
          <pc:sldMasterMk cId="3521833959" sldId="2147484194"/>
        </pc:sldMasterMkLst>
        <pc:sldLayoutChg chg="add del">
          <pc:chgData name="Lopez, Dave (BGA Aftmkt)" userId="3efd0e50-8734-4d76-9241-14ad2ed554f7" providerId="ADAL" clId="{51A3CEF3-8D54-45CE-A1B6-ADB8BB107BF3}" dt="2024-11-07T17:27:01.903" v="2300" actId="47"/>
          <pc:sldLayoutMkLst>
            <pc:docMk/>
            <pc:sldMasterMk cId="3521833959" sldId="2147484194"/>
            <pc:sldLayoutMk cId="734167961" sldId="2147484195"/>
          </pc:sldLayoutMkLst>
        </pc:sldLayoutChg>
        <pc:sldLayoutChg chg="add del">
          <pc:chgData name="Lopez, Dave (BGA Aftmkt)" userId="3efd0e50-8734-4d76-9241-14ad2ed554f7" providerId="ADAL" clId="{51A3CEF3-8D54-45CE-A1B6-ADB8BB107BF3}" dt="2024-11-07T17:27:01.903" v="2300" actId="47"/>
          <pc:sldLayoutMkLst>
            <pc:docMk/>
            <pc:sldMasterMk cId="3521833959" sldId="2147484194"/>
            <pc:sldLayoutMk cId="534152541" sldId="2147484196"/>
          </pc:sldLayoutMkLst>
        </pc:sldLayoutChg>
        <pc:sldLayoutChg chg="add del">
          <pc:chgData name="Lopez, Dave (BGA Aftmkt)" userId="3efd0e50-8734-4d76-9241-14ad2ed554f7" providerId="ADAL" clId="{51A3CEF3-8D54-45CE-A1B6-ADB8BB107BF3}" dt="2024-11-07T17:27:01.903" v="2300" actId="47"/>
          <pc:sldLayoutMkLst>
            <pc:docMk/>
            <pc:sldMasterMk cId="3521833959" sldId="2147484194"/>
            <pc:sldLayoutMk cId="1377415793" sldId="2147484197"/>
          </pc:sldLayoutMkLst>
        </pc:sldLayoutChg>
        <pc:sldLayoutChg chg="add del">
          <pc:chgData name="Lopez, Dave (BGA Aftmkt)" userId="3efd0e50-8734-4d76-9241-14ad2ed554f7" providerId="ADAL" clId="{51A3CEF3-8D54-45CE-A1B6-ADB8BB107BF3}" dt="2024-11-07T17:27:01.903" v="2300" actId="47"/>
          <pc:sldLayoutMkLst>
            <pc:docMk/>
            <pc:sldMasterMk cId="3521833959" sldId="2147484194"/>
            <pc:sldLayoutMk cId="3273159620" sldId="2147484198"/>
          </pc:sldLayoutMkLst>
        </pc:sldLayoutChg>
        <pc:sldLayoutChg chg="add del">
          <pc:chgData name="Lopez, Dave (BGA Aftmkt)" userId="3efd0e50-8734-4d76-9241-14ad2ed554f7" providerId="ADAL" clId="{51A3CEF3-8D54-45CE-A1B6-ADB8BB107BF3}" dt="2024-11-07T17:27:01.903" v="2300" actId="47"/>
          <pc:sldLayoutMkLst>
            <pc:docMk/>
            <pc:sldMasterMk cId="3521833959" sldId="2147484194"/>
            <pc:sldLayoutMk cId="562207752" sldId="2147484199"/>
          </pc:sldLayoutMkLst>
        </pc:sldLayoutChg>
      </pc:sldMasterChg>
      <pc:sldMasterChg chg="add del addSldLayout delSldLayout">
        <pc:chgData name="Lopez, Dave (BGA Aftmkt)" userId="3efd0e50-8734-4d76-9241-14ad2ed554f7" providerId="ADAL" clId="{51A3CEF3-8D54-45CE-A1B6-ADB8BB107BF3}" dt="2024-11-04T19:20:09.814" v="10" actId="47"/>
        <pc:sldMasterMkLst>
          <pc:docMk/>
          <pc:sldMasterMk cId="1029267566" sldId="2147484200"/>
        </pc:sldMasterMkLst>
        <pc:sldLayoutChg chg="add del">
          <pc:chgData name="Lopez, Dave (BGA Aftmkt)" userId="3efd0e50-8734-4d76-9241-14ad2ed554f7" providerId="ADAL" clId="{51A3CEF3-8D54-45CE-A1B6-ADB8BB107BF3}" dt="2024-11-04T19:20:09.814" v="10" actId="47"/>
          <pc:sldLayoutMkLst>
            <pc:docMk/>
            <pc:sldMasterMk cId="1029267566" sldId="2147484200"/>
            <pc:sldLayoutMk cId="3241527735" sldId="2147484201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20:09.814" v="10" actId="47"/>
          <pc:sldLayoutMkLst>
            <pc:docMk/>
            <pc:sldMasterMk cId="1029267566" sldId="2147484200"/>
            <pc:sldLayoutMk cId="3826804490" sldId="2147484202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20:09.814" v="10" actId="47"/>
          <pc:sldLayoutMkLst>
            <pc:docMk/>
            <pc:sldMasterMk cId="1029267566" sldId="2147484200"/>
            <pc:sldLayoutMk cId="718139528" sldId="2147484203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20:09.814" v="10" actId="47"/>
          <pc:sldLayoutMkLst>
            <pc:docMk/>
            <pc:sldMasterMk cId="1029267566" sldId="2147484200"/>
            <pc:sldLayoutMk cId="2247723402" sldId="2147484204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20:09.814" v="10" actId="47"/>
          <pc:sldLayoutMkLst>
            <pc:docMk/>
            <pc:sldMasterMk cId="1029267566" sldId="2147484200"/>
            <pc:sldLayoutMk cId="2801144881" sldId="2147484205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20:09.814" v="10" actId="47"/>
          <pc:sldLayoutMkLst>
            <pc:docMk/>
            <pc:sldMasterMk cId="1029267566" sldId="2147484200"/>
            <pc:sldLayoutMk cId="1031940091" sldId="2147484206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20:09.814" v="10" actId="47"/>
          <pc:sldLayoutMkLst>
            <pc:docMk/>
            <pc:sldMasterMk cId="1029267566" sldId="2147484200"/>
            <pc:sldLayoutMk cId="2266054572" sldId="2147484207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20:09.814" v="10" actId="47"/>
          <pc:sldLayoutMkLst>
            <pc:docMk/>
            <pc:sldMasterMk cId="1029267566" sldId="2147484200"/>
            <pc:sldLayoutMk cId="169153793" sldId="2147484208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20:09.814" v="10" actId="47"/>
          <pc:sldLayoutMkLst>
            <pc:docMk/>
            <pc:sldMasterMk cId="1029267566" sldId="2147484200"/>
            <pc:sldLayoutMk cId="4114540048" sldId="2147484209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20:09.814" v="10" actId="47"/>
          <pc:sldLayoutMkLst>
            <pc:docMk/>
            <pc:sldMasterMk cId="1029267566" sldId="2147484200"/>
            <pc:sldLayoutMk cId="917901214" sldId="2147484210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20:09.814" v="10" actId="47"/>
          <pc:sldLayoutMkLst>
            <pc:docMk/>
            <pc:sldMasterMk cId="1029267566" sldId="2147484200"/>
            <pc:sldLayoutMk cId="106953202" sldId="2147484211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20:09.814" v="10" actId="47"/>
          <pc:sldLayoutMkLst>
            <pc:docMk/>
            <pc:sldMasterMk cId="1029267566" sldId="2147484200"/>
            <pc:sldLayoutMk cId="2963861396" sldId="2147484212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20:09.814" v="10" actId="47"/>
          <pc:sldLayoutMkLst>
            <pc:docMk/>
            <pc:sldMasterMk cId="1029267566" sldId="2147484200"/>
            <pc:sldLayoutMk cId="3890193131" sldId="2147484213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20:09.814" v="10" actId="47"/>
          <pc:sldLayoutMkLst>
            <pc:docMk/>
            <pc:sldMasterMk cId="1029267566" sldId="2147484200"/>
            <pc:sldLayoutMk cId="1829933668" sldId="2147484214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20:09.814" v="10" actId="47"/>
          <pc:sldLayoutMkLst>
            <pc:docMk/>
            <pc:sldMasterMk cId="1029267566" sldId="2147484200"/>
            <pc:sldLayoutMk cId="2288066540" sldId="2147484215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20:09.814" v="10" actId="47"/>
          <pc:sldLayoutMkLst>
            <pc:docMk/>
            <pc:sldMasterMk cId="1029267566" sldId="2147484200"/>
            <pc:sldLayoutMk cId="1180421294" sldId="2147484216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20:09.814" v="10" actId="47"/>
          <pc:sldLayoutMkLst>
            <pc:docMk/>
            <pc:sldMasterMk cId="1029267566" sldId="2147484200"/>
            <pc:sldLayoutMk cId="3796832659" sldId="2147484217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20:09.814" v="10" actId="47"/>
          <pc:sldLayoutMkLst>
            <pc:docMk/>
            <pc:sldMasterMk cId="1029267566" sldId="2147484200"/>
            <pc:sldLayoutMk cId="4154540508" sldId="2147484218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20:09.814" v="10" actId="47"/>
          <pc:sldLayoutMkLst>
            <pc:docMk/>
            <pc:sldMasterMk cId="1029267566" sldId="2147484200"/>
            <pc:sldLayoutMk cId="3999604379" sldId="2147484219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20:09.814" v="10" actId="47"/>
          <pc:sldLayoutMkLst>
            <pc:docMk/>
            <pc:sldMasterMk cId="1029267566" sldId="2147484200"/>
            <pc:sldLayoutMk cId="1507642276" sldId="2147484220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20:09.814" v="10" actId="47"/>
          <pc:sldLayoutMkLst>
            <pc:docMk/>
            <pc:sldMasterMk cId="1029267566" sldId="2147484200"/>
            <pc:sldLayoutMk cId="105819053" sldId="2147484221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20:09.814" v="10" actId="47"/>
          <pc:sldLayoutMkLst>
            <pc:docMk/>
            <pc:sldMasterMk cId="1029267566" sldId="2147484200"/>
            <pc:sldLayoutMk cId="104388230" sldId="2147484222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20:09.814" v="10" actId="47"/>
          <pc:sldLayoutMkLst>
            <pc:docMk/>
            <pc:sldMasterMk cId="1029267566" sldId="2147484200"/>
            <pc:sldLayoutMk cId="645927803" sldId="2147484223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20:09.814" v="10" actId="47"/>
          <pc:sldLayoutMkLst>
            <pc:docMk/>
            <pc:sldMasterMk cId="1029267566" sldId="2147484200"/>
            <pc:sldLayoutMk cId="1001437449" sldId="2147484224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20:09.814" v="10" actId="47"/>
          <pc:sldLayoutMkLst>
            <pc:docMk/>
            <pc:sldMasterMk cId="1029267566" sldId="2147484200"/>
            <pc:sldLayoutMk cId="3411960587" sldId="2147484225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20:09.814" v="10" actId="47"/>
          <pc:sldLayoutMkLst>
            <pc:docMk/>
            <pc:sldMasterMk cId="1029267566" sldId="2147484200"/>
            <pc:sldLayoutMk cId="4005321611" sldId="2147484226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20:09.814" v="10" actId="47"/>
          <pc:sldLayoutMkLst>
            <pc:docMk/>
            <pc:sldMasterMk cId="1029267566" sldId="2147484200"/>
            <pc:sldLayoutMk cId="3704735205" sldId="2147484227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20:09.814" v="10" actId="47"/>
          <pc:sldLayoutMkLst>
            <pc:docMk/>
            <pc:sldMasterMk cId="1029267566" sldId="2147484200"/>
            <pc:sldLayoutMk cId="2820664660" sldId="2147484228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20:09.814" v="10" actId="47"/>
          <pc:sldLayoutMkLst>
            <pc:docMk/>
            <pc:sldMasterMk cId="1029267566" sldId="2147484200"/>
            <pc:sldLayoutMk cId="987773294" sldId="2147484229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20:09.814" v="10" actId="47"/>
          <pc:sldLayoutMkLst>
            <pc:docMk/>
            <pc:sldMasterMk cId="1029267566" sldId="2147484200"/>
            <pc:sldLayoutMk cId="2299009557" sldId="2147484230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20:09.814" v="10" actId="47"/>
          <pc:sldLayoutMkLst>
            <pc:docMk/>
            <pc:sldMasterMk cId="1029267566" sldId="2147484200"/>
            <pc:sldLayoutMk cId="1835371309" sldId="2147484231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20:09.814" v="10" actId="47"/>
          <pc:sldLayoutMkLst>
            <pc:docMk/>
            <pc:sldMasterMk cId="1029267566" sldId="2147484200"/>
            <pc:sldLayoutMk cId="1593284037" sldId="2147484232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20:09.814" v="10" actId="47"/>
          <pc:sldLayoutMkLst>
            <pc:docMk/>
            <pc:sldMasterMk cId="1029267566" sldId="2147484200"/>
            <pc:sldLayoutMk cId="488424938" sldId="2147484233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20:09.814" v="10" actId="47"/>
          <pc:sldLayoutMkLst>
            <pc:docMk/>
            <pc:sldMasterMk cId="1029267566" sldId="2147484200"/>
            <pc:sldLayoutMk cId="1363622693" sldId="2147484234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20:09.814" v="10" actId="47"/>
          <pc:sldLayoutMkLst>
            <pc:docMk/>
            <pc:sldMasterMk cId="1029267566" sldId="2147484200"/>
            <pc:sldLayoutMk cId="2329404088" sldId="2147484235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20:09.814" v="10" actId="47"/>
          <pc:sldLayoutMkLst>
            <pc:docMk/>
            <pc:sldMasterMk cId="1029267566" sldId="2147484200"/>
            <pc:sldLayoutMk cId="3057937871" sldId="2147484236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20:09.814" v="10" actId="47"/>
          <pc:sldLayoutMkLst>
            <pc:docMk/>
            <pc:sldMasterMk cId="1029267566" sldId="2147484200"/>
            <pc:sldLayoutMk cId="213464094" sldId="2147484237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20:09.814" v="10" actId="47"/>
          <pc:sldLayoutMkLst>
            <pc:docMk/>
            <pc:sldMasterMk cId="1029267566" sldId="2147484200"/>
            <pc:sldLayoutMk cId="121681713" sldId="2147484238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20:09.814" v="10" actId="47"/>
          <pc:sldLayoutMkLst>
            <pc:docMk/>
            <pc:sldMasterMk cId="1029267566" sldId="2147484200"/>
            <pc:sldLayoutMk cId="3403204624" sldId="2147484239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20:09.814" v="10" actId="47"/>
          <pc:sldLayoutMkLst>
            <pc:docMk/>
            <pc:sldMasterMk cId="1029267566" sldId="2147484200"/>
            <pc:sldLayoutMk cId="2667144067" sldId="2147484240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20:09.814" v="10" actId="47"/>
          <pc:sldLayoutMkLst>
            <pc:docMk/>
            <pc:sldMasterMk cId="1029267566" sldId="2147484200"/>
            <pc:sldLayoutMk cId="3415471899" sldId="2147484241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20:09.814" v="10" actId="47"/>
          <pc:sldLayoutMkLst>
            <pc:docMk/>
            <pc:sldMasterMk cId="1029267566" sldId="2147484200"/>
            <pc:sldLayoutMk cId="1182857126" sldId="2147484242"/>
          </pc:sldLayoutMkLst>
        </pc:sldLayoutChg>
        <pc:sldLayoutChg chg="add del">
          <pc:chgData name="Lopez, Dave (BGA Aftmkt)" userId="3efd0e50-8734-4d76-9241-14ad2ed554f7" providerId="ADAL" clId="{51A3CEF3-8D54-45CE-A1B6-ADB8BB107BF3}" dt="2024-11-04T19:20:09.814" v="10" actId="47"/>
          <pc:sldLayoutMkLst>
            <pc:docMk/>
            <pc:sldMasterMk cId="1029267566" sldId="2147484200"/>
            <pc:sldLayoutMk cId="3147958289" sldId="2147484243"/>
          </pc:sldLayoutMkLst>
        </pc:sldLayoutChg>
      </pc:sldMasterChg>
      <pc:sldMasterChg chg="add del addSldLayout delSldLayout">
        <pc:chgData name="Lopez, Dave (BGA Aftmkt)" userId="3efd0e50-8734-4d76-9241-14ad2ed554f7" providerId="ADAL" clId="{51A3CEF3-8D54-45CE-A1B6-ADB8BB107BF3}" dt="2024-11-05T00:19:25.064" v="264" actId="47"/>
        <pc:sldMasterMkLst>
          <pc:docMk/>
          <pc:sldMasterMk cId="3041212827" sldId="2147484283"/>
        </pc:sldMasterMkLst>
        <pc:sldLayoutChg chg="add del">
          <pc:chgData name="Lopez, Dave (BGA Aftmkt)" userId="3efd0e50-8734-4d76-9241-14ad2ed554f7" providerId="ADAL" clId="{51A3CEF3-8D54-45CE-A1B6-ADB8BB107BF3}" dt="2024-11-05T00:19:25.064" v="264" actId="47"/>
          <pc:sldLayoutMkLst>
            <pc:docMk/>
            <pc:sldMasterMk cId="3041212827" sldId="2147484283"/>
            <pc:sldLayoutMk cId="2084149792" sldId="2147484284"/>
          </pc:sldLayoutMkLst>
        </pc:sldLayoutChg>
        <pc:sldLayoutChg chg="add del">
          <pc:chgData name="Lopez, Dave (BGA Aftmkt)" userId="3efd0e50-8734-4d76-9241-14ad2ed554f7" providerId="ADAL" clId="{51A3CEF3-8D54-45CE-A1B6-ADB8BB107BF3}" dt="2024-11-05T00:19:25.064" v="264" actId="47"/>
          <pc:sldLayoutMkLst>
            <pc:docMk/>
            <pc:sldMasterMk cId="3041212827" sldId="2147484283"/>
            <pc:sldLayoutMk cId="3610255860" sldId="2147484285"/>
          </pc:sldLayoutMkLst>
        </pc:sldLayoutChg>
        <pc:sldLayoutChg chg="add del">
          <pc:chgData name="Lopez, Dave (BGA Aftmkt)" userId="3efd0e50-8734-4d76-9241-14ad2ed554f7" providerId="ADAL" clId="{51A3CEF3-8D54-45CE-A1B6-ADB8BB107BF3}" dt="2024-11-05T00:19:25.064" v="264" actId="47"/>
          <pc:sldLayoutMkLst>
            <pc:docMk/>
            <pc:sldMasterMk cId="3041212827" sldId="2147484283"/>
            <pc:sldLayoutMk cId="1195165625" sldId="2147484286"/>
          </pc:sldLayoutMkLst>
        </pc:sldLayoutChg>
        <pc:sldLayoutChg chg="add del">
          <pc:chgData name="Lopez, Dave (BGA Aftmkt)" userId="3efd0e50-8734-4d76-9241-14ad2ed554f7" providerId="ADAL" clId="{51A3CEF3-8D54-45CE-A1B6-ADB8BB107BF3}" dt="2024-11-05T00:19:25.064" v="264" actId="47"/>
          <pc:sldLayoutMkLst>
            <pc:docMk/>
            <pc:sldMasterMk cId="3041212827" sldId="2147484283"/>
            <pc:sldLayoutMk cId="496812220" sldId="2147484287"/>
          </pc:sldLayoutMkLst>
        </pc:sldLayoutChg>
        <pc:sldLayoutChg chg="add del">
          <pc:chgData name="Lopez, Dave (BGA Aftmkt)" userId="3efd0e50-8734-4d76-9241-14ad2ed554f7" providerId="ADAL" clId="{51A3CEF3-8D54-45CE-A1B6-ADB8BB107BF3}" dt="2024-11-05T00:19:25.064" v="264" actId="47"/>
          <pc:sldLayoutMkLst>
            <pc:docMk/>
            <pc:sldMasterMk cId="3041212827" sldId="2147484283"/>
            <pc:sldLayoutMk cId="2464885292" sldId="2147484288"/>
          </pc:sldLayoutMkLst>
        </pc:sldLayoutChg>
        <pc:sldLayoutChg chg="add del">
          <pc:chgData name="Lopez, Dave (BGA Aftmkt)" userId="3efd0e50-8734-4d76-9241-14ad2ed554f7" providerId="ADAL" clId="{51A3CEF3-8D54-45CE-A1B6-ADB8BB107BF3}" dt="2024-11-05T00:19:25.064" v="264" actId="47"/>
          <pc:sldLayoutMkLst>
            <pc:docMk/>
            <pc:sldMasterMk cId="3041212827" sldId="2147484283"/>
            <pc:sldLayoutMk cId="1388228138" sldId="2147484289"/>
          </pc:sldLayoutMkLst>
        </pc:sldLayoutChg>
        <pc:sldLayoutChg chg="add del">
          <pc:chgData name="Lopez, Dave (BGA Aftmkt)" userId="3efd0e50-8734-4d76-9241-14ad2ed554f7" providerId="ADAL" clId="{51A3CEF3-8D54-45CE-A1B6-ADB8BB107BF3}" dt="2024-11-05T00:19:25.064" v="264" actId="47"/>
          <pc:sldLayoutMkLst>
            <pc:docMk/>
            <pc:sldMasterMk cId="3041212827" sldId="2147484283"/>
            <pc:sldLayoutMk cId="2379052726" sldId="2147484290"/>
          </pc:sldLayoutMkLst>
        </pc:sldLayoutChg>
        <pc:sldLayoutChg chg="add del">
          <pc:chgData name="Lopez, Dave (BGA Aftmkt)" userId="3efd0e50-8734-4d76-9241-14ad2ed554f7" providerId="ADAL" clId="{51A3CEF3-8D54-45CE-A1B6-ADB8BB107BF3}" dt="2024-11-05T00:19:25.064" v="264" actId="47"/>
          <pc:sldLayoutMkLst>
            <pc:docMk/>
            <pc:sldMasterMk cId="3041212827" sldId="2147484283"/>
            <pc:sldLayoutMk cId="982029428" sldId="2147484291"/>
          </pc:sldLayoutMkLst>
        </pc:sldLayoutChg>
        <pc:sldLayoutChg chg="add del">
          <pc:chgData name="Lopez, Dave (BGA Aftmkt)" userId="3efd0e50-8734-4d76-9241-14ad2ed554f7" providerId="ADAL" clId="{51A3CEF3-8D54-45CE-A1B6-ADB8BB107BF3}" dt="2024-11-05T00:19:25.064" v="264" actId="47"/>
          <pc:sldLayoutMkLst>
            <pc:docMk/>
            <pc:sldMasterMk cId="3041212827" sldId="2147484283"/>
            <pc:sldLayoutMk cId="1315974022" sldId="2147484292"/>
          </pc:sldLayoutMkLst>
        </pc:sldLayoutChg>
        <pc:sldLayoutChg chg="add del">
          <pc:chgData name="Lopez, Dave (BGA Aftmkt)" userId="3efd0e50-8734-4d76-9241-14ad2ed554f7" providerId="ADAL" clId="{51A3CEF3-8D54-45CE-A1B6-ADB8BB107BF3}" dt="2024-11-05T00:19:25.064" v="264" actId="47"/>
          <pc:sldLayoutMkLst>
            <pc:docMk/>
            <pc:sldMasterMk cId="3041212827" sldId="2147484283"/>
            <pc:sldLayoutMk cId="2493519212" sldId="2147484293"/>
          </pc:sldLayoutMkLst>
        </pc:sldLayoutChg>
        <pc:sldLayoutChg chg="add del">
          <pc:chgData name="Lopez, Dave (BGA Aftmkt)" userId="3efd0e50-8734-4d76-9241-14ad2ed554f7" providerId="ADAL" clId="{51A3CEF3-8D54-45CE-A1B6-ADB8BB107BF3}" dt="2024-11-05T00:19:25.064" v="264" actId="47"/>
          <pc:sldLayoutMkLst>
            <pc:docMk/>
            <pc:sldMasterMk cId="3041212827" sldId="2147484283"/>
            <pc:sldLayoutMk cId="584796081" sldId="2147484300"/>
          </pc:sldLayoutMkLst>
        </pc:sldLayoutChg>
        <pc:sldLayoutChg chg="add del">
          <pc:chgData name="Lopez, Dave (BGA Aftmkt)" userId="3efd0e50-8734-4d76-9241-14ad2ed554f7" providerId="ADAL" clId="{51A3CEF3-8D54-45CE-A1B6-ADB8BB107BF3}" dt="2024-11-05T00:19:25.064" v="264" actId="47"/>
          <pc:sldLayoutMkLst>
            <pc:docMk/>
            <pc:sldMasterMk cId="3041212827" sldId="2147484283"/>
            <pc:sldLayoutMk cId="281559697" sldId="2147484301"/>
          </pc:sldLayoutMkLst>
        </pc:sldLayoutChg>
        <pc:sldLayoutChg chg="add del">
          <pc:chgData name="Lopez, Dave (BGA Aftmkt)" userId="3efd0e50-8734-4d76-9241-14ad2ed554f7" providerId="ADAL" clId="{51A3CEF3-8D54-45CE-A1B6-ADB8BB107BF3}" dt="2024-11-05T00:19:25.064" v="264" actId="47"/>
          <pc:sldLayoutMkLst>
            <pc:docMk/>
            <pc:sldMasterMk cId="3041212827" sldId="2147484283"/>
            <pc:sldLayoutMk cId="3090155504" sldId="2147484302"/>
          </pc:sldLayoutMkLst>
        </pc:sldLayoutChg>
        <pc:sldLayoutChg chg="add del">
          <pc:chgData name="Lopez, Dave (BGA Aftmkt)" userId="3efd0e50-8734-4d76-9241-14ad2ed554f7" providerId="ADAL" clId="{51A3CEF3-8D54-45CE-A1B6-ADB8BB107BF3}" dt="2024-11-05T00:19:25.064" v="264" actId="47"/>
          <pc:sldLayoutMkLst>
            <pc:docMk/>
            <pc:sldMasterMk cId="3041212827" sldId="2147484283"/>
            <pc:sldLayoutMk cId="3471737366" sldId="2147484303"/>
          </pc:sldLayoutMkLst>
        </pc:sldLayoutChg>
        <pc:sldLayoutChg chg="add del">
          <pc:chgData name="Lopez, Dave (BGA Aftmkt)" userId="3efd0e50-8734-4d76-9241-14ad2ed554f7" providerId="ADAL" clId="{51A3CEF3-8D54-45CE-A1B6-ADB8BB107BF3}" dt="2024-11-05T00:19:25.064" v="264" actId="47"/>
          <pc:sldLayoutMkLst>
            <pc:docMk/>
            <pc:sldMasterMk cId="3041212827" sldId="2147484283"/>
            <pc:sldLayoutMk cId="1256913262" sldId="2147484304"/>
          </pc:sldLayoutMkLst>
        </pc:sldLayoutChg>
        <pc:sldLayoutChg chg="add del">
          <pc:chgData name="Lopez, Dave (BGA Aftmkt)" userId="3efd0e50-8734-4d76-9241-14ad2ed554f7" providerId="ADAL" clId="{51A3CEF3-8D54-45CE-A1B6-ADB8BB107BF3}" dt="2024-11-05T00:19:25.064" v="264" actId="47"/>
          <pc:sldLayoutMkLst>
            <pc:docMk/>
            <pc:sldMasterMk cId="3041212827" sldId="2147484283"/>
            <pc:sldLayoutMk cId="4641472" sldId="2147484305"/>
          </pc:sldLayoutMkLst>
        </pc:sldLayoutChg>
        <pc:sldLayoutChg chg="add del">
          <pc:chgData name="Lopez, Dave (BGA Aftmkt)" userId="3efd0e50-8734-4d76-9241-14ad2ed554f7" providerId="ADAL" clId="{51A3CEF3-8D54-45CE-A1B6-ADB8BB107BF3}" dt="2024-11-05T00:19:25.064" v="264" actId="47"/>
          <pc:sldLayoutMkLst>
            <pc:docMk/>
            <pc:sldMasterMk cId="3041212827" sldId="2147484283"/>
            <pc:sldLayoutMk cId="282520677" sldId="2147484306"/>
          </pc:sldLayoutMkLst>
        </pc:sldLayoutChg>
        <pc:sldLayoutChg chg="add del">
          <pc:chgData name="Lopez, Dave (BGA Aftmkt)" userId="3efd0e50-8734-4d76-9241-14ad2ed554f7" providerId="ADAL" clId="{51A3CEF3-8D54-45CE-A1B6-ADB8BB107BF3}" dt="2024-11-05T00:19:25.064" v="264" actId="47"/>
          <pc:sldLayoutMkLst>
            <pc:docMk/>
            <pc:sldMasterMk cId="3041212827" sldId="2147484283"/>
            <pc:sldLayoutMk cId="2818567892" sldId="2147484307"/>
          </pc:sldLayoutMkLst>
        </pc:sldLayoutChg>
        <pc:sldLayoutChg chg="add del">
          <pc:chgData name="Lopez, Dave (BGA Aftmkt)" userId="3efd0e50-8734-4d76-9241-14ad2ed554f7" providerId="ADAL" clId="{51A3CEF3-8D54-45CE-A1B6-ADB8BB107BF3}" dt="2024-11-05T00:19:25.064" v="264" actId="47"/>
          <pc:sldLayoutMkLst>
            <pc:docMk/>
            <pc:sldMasterMk cId="3041212827" sldId="2147484283"/>
            <pc:sldLayoutMk cId="1207922046" sldId="2147484308"/>
          </pc:sldLayoutMkLst>
        </pc:sldLayoutChg>
        <pc:sldLayoutChg chg="add del">
          <pc:chgData name="Lopez, Dave (BGA Aftmkt)" userId="3efd0e50-8734-4d76-9241-14ad2ed554f7" providerId="ADAL" clId="{51A3CEF3-8D54-45CE-A1B6-ADB8BB107BF3}" dt="2024-11-05T00:19:25.064" v="264" actId="47"/>
          <pc:sldLayoutMkLst>
            <pc:docMk/>
            <pc:sldMasterMk cId="3041212827" sldId="2147484283"/>
            <pc:sldLayoutMk cId="1992233539" sldId="2147484309"/>
          </pc:sldLayoutMkLst>
        </pc:sldLayoutChg>
        <pc:sldLayoutChg chg="add del">
          <pc:chgData name="Lopez, Dave (BGA Aftmkt)" userId="3efd0e50-8734-4d76-9241-14ad2ed554f7" providerId="ADAL" clId="{51A3CEF3-8D54-45CE-A1B6-ADB8BB107BF3}" dt="2024-11-05T00:19:25.064" v="264" actId="47"/>
          <pc:sldLayoutMkLst>
            <pc:docMk/>
            <pc:sldMasterMk cId="3041212827" sldId="2147484283"/>
            <pc:sldLayoutMk cId="3224460138" sldId="2147484310"/>
          </pc:sldLayoutMkLst>
        </pc:sldLayoutChg>
        <pc:sldLayoutChg chg="add del">
          <pc:chgData name="Lopez, Dave (BGA Aftmkt)" userId="3efd0e50-8734-4d76-9241-14ad2ed554f7" providerId="ADAL" clId="{51A3CEF3-8D54-45CE-A1B6-ADB8BB107BF3}" dt="2024-11-05T00:19:25.064" v="264" actId="47"/>
          <pc:sldLayoutMkLst>
            <pc:docMk/>
            <pc:sldMasterMk cId="3041212827" sldId="2147484283"/>
            <pc:sldLayoutMk cId="1880936320" sldId="2147484311"/>
          </pc:sldLayoutMkLst>
        </pc:sldLayoutChg>
        <pc:sldLayoutChg chg="add del">
          <pc:chgData name="Lopez, Dave (BGA Aftmkt)" userId="3efd0e50-8734-4d76-9241-14ad2ed554f7" providerId="ADAL" clId="{51A3CEF3-8D54-45CE-A1B6-ADB8BB107BF3}" dt="2024-11-05T00:19:25.064" v="264" actId="47"/>
          <pc:sldLayoutMkLst>
            <pc:docMk/>
            <pc:sldMasterMk cId="3041212827" sldId="2147484283"/>
            <pc:sldLayoutMk cId="1000747208" sldId="2147484312"/>
          </pc:sldLayoutMkLst>
        </pc:sldLayoutChg>
        <pc:sldLayoutChg chg="add del">
          <pc:chgData name="Lopez, Dave (BGA Aftmkt)" userId="3efd0e50-8734-4d76-9241-14ad2ed554f7" providerId="ADAL" clId="{51A3CEF3-8D54-45CE-A1B6-ADB8BB107BF3}" dt="2024-11-05T00:19:25.064" v="264" actId="47"/>
          <pc:sldLayoutMkLst>
            <pc:docMk/>
            <pc:sldMasterMk cId="3041212827" sldId="2147484283"/>
            <pc:sldLayoutMk cId="2368400295" sldId="2147484313"/>
          </pc:sldLayoutMkLst>
        </pc:sldLayoutChg>
        <pc:sldLayoutChg chg="add del">
          <pc:chgData name="Lopez, Dave (BGA Aftmkt)" userId="3efd0e50-8734-4d76-9241-14ad2ed554f7" providerId="ADAL" clId="{51A3CEF3-8D54-45CE-A1B6-ADB8BB107BF3}" dt="2024-11-05T00:19:25.064" v="264" actId="47"/>
          <pc:sldLayoutMkLst>
            <pc:docMk/>
            <pc:sldMasterMk cId="3041212827" sldId="2147484283"/>
            <pc:sldLayoutMk cId="3944623150" sldId="2147484314"/>
          </pc:sldLayoutMkLst>
        </pc:sldLayoutChg>
        <pc:sldLayoutChg chg="add del">
          <pc:chgData name="Lopez, Dave (BGA Aftmkt)" userId="3efd0e50-8734-4d76-9241-14ad2ed554f7" providerId="ADAL" clId="{51A3CEF3-8D54-45CE-A1B6-ADB8BB107BF3}" dt="2024-11-05T00:19:25.064" v="264" actId="47"/>
          <pc:sldLayoutMkLst>
            <pc:docMk/>
            <pc:sldMasterMk cId="3041212827" sldId="2147484283"/>
            <pc:sldLayoutMk cId="1267921153" sldId="2147484315"/>
          </pc:sldLayoutMkLst>
        </pc:sldLayoutChg>
        <pc:sldLayoutChg chg="add del">
          <pc:chgData name="Lopez, Dave (BGA Aftmkt)" userId="3efd0e50-8734-4d76-9241-14ad2ed554f7" providerId="ADAL" clId="{51A3CEF3-8D54-45CE-A1B6-ADB8BB107BF3}" dt="2024-11-05T00:19:25.064" v="264" actId="47"/>
          <pc:sldLayoutMkLst>
            <pc:docMk/>
            <pc:sldMasterMk cId="3041212827" sldId="2147484283"/>
            <pc:sldLayoutMk cId="4245718071" sldId="2147484316"/>
          </pc:sldLayoutMkLst>
        </pc:sldLayoutChg>
        <pc:sldLayoutChg chg="add del">
          <pc:chgData name="Lopez, Dave (BGA Aftmkt)" userId="3efd0e50-8734-4d76-9241-14ad2ed554f7" providerId="ADAL" clId="{51A3CEF3-8D54-45CE-A1B6-ADB8BB107BF3}" dt="2024-11-05T00:19:25.064" v="264" actId="47"/>
          <pc:sldLayoutMkLst>
            <pc:docMk/>
            <pc:sldMasterMk cId="3041212827" sldId="2147484283"/>
            <pc:sldLayoutMk cId="1884085067" sldId="2147484317"/>
          </pc:sldLayoutMkLst>
        </pc:sldLayoutChg>
        <pc:sldLayoutChg chg="add del">
          <pc:chgData name="Lopez, Dave (BGA Aftmkt)" userId="3efd0e50-8734-4d76-9241-14ad2ed554f7" providerId="ADAL" clId="{51A3CEF3-8D54-45CE-A1B6-ADB8BB107BF3}" dt="2024-11-05T00:19:25.064" v="264" actId="47"/>
          <pc:sldLayoutMkLst>
            <pc:docMk/>
            <pc:sldMasterMk cId="3041212827" sldId="2147484283"/>
            <pc:sldLayoutMk cId="3700072285" sldId="2147484318"/>
          </pc:sldLayoutMkLst>
        </pc:sldLayoutChg>
        <pc:sldLayoutChg chg="add del">
          <pc:chgData name="Lopez, Dave (BGA Aftmkt)" userId="3efd0e50-8734-4d76-9241-14ad2ed554f7" providerId="ADAL" clId="{51A3CEF3-8D54-45CE-A1B6-ADB8BB107BF3}" dt="2024-11-05T00:19:25.064" v="264" actId="47"/>
          <pc:sldLayoutMkLst>
            <pc:docMk/>
            <pc:sldMasterMk cId="3041212827" sldId="2147484283"/>
            <pc:sldLayoutMk cId="4163637984" sldId="2147484319"/>
          </pc:sldLayoutMkLst>
        </pc:sldLayoutChg>
        <pc:sldLayoutChg chg="add del">
          <pc:chgData name="Lopez, Dave (BGA Aftmkt)" userId="3efd0e50-8734-4d76-9241-14ad2ed554f7" providerId="ADAL" clId="{51A3CEF3-8D54-45CE-A1B6-ADB8BB107BF3}" dt="2024-11-05T00:19:25.064" v="264" actId="47"/>
          <pc:sldLayoutMkLst>
            <pc:docMk/>
            <pc:sldMasterMk cId="3041212827" sldId="2147484283"/>
            <pc:sldLayoutMk cId="3092842731" sldId="2147484320"/>
          </pc:sldLayoutMkLst>
        </pc:sldLayoutChg>
        <pc:sldLayoutChg chg="add del">
          <pc:chgData name="Lopez, Dave (BGA Aftmkt)" userId="3efd0e50-8734-4d76-9241-14ad2ed554f7" providerId="ADAL" clId="{51A3CEF3-8D54-45CE-A1B6-ADB8BB107BF3}" dt="2024-11-05T00:19:25.064" v="264" actId="47"/>
          <pc:sldLayoutMkLst>
            <pc:docMk/>
            <pc:sldMasterMk cId="3041212827" sldId="2147484283"/>
            <pc:sldLayoutMk cId="263735789" sldId="2147484321"/>
          </pc:sldLayoutMkLst>
        </pc:sldLayoutChg>
        <pc:sldLayoutChg chg="add del">
          <pc:chgData name="Lopez, Dave (BGA Aftmkt)" userId="3efd0e50-8734-4d76-9241-14ad2ed554f7" providerId="ADAL" clId="{51A3CEF3-8D54-45CE-A1B6-ADB8BB107BF3}" dt="2024-11-05T00:19:25.064" v="264" actId="47"/>
          <pc:sldLayoutMkLst>
            <pc:docMk/>
            <pc:sldMasterMk cId="3041212827" sldId="2147484283"/>
            <pc:sldLayoutMk cId="3306631866" sldId="2147484322"/>
          </pc:sldLayoutMkLst>
        </pc:sldLayoutChg>
        <pc:sldLayoutChg chg="add del">
          <pc:chgData name="Lopez, Dave (BGA Aftmkt)" userId="3efd0e50-8734-4d76-9241-14ad2ed554f7" providerId="ADAL" clId="{51A3CEF3-8D54-45CE-A1B6-ADB8BB107BF3}" dt="2024-11-05T00:19:25.064" v="264" actId="47"/>
          <pc:sldLayoutMkLst>
            <pc:docMk/>
            <pc:sldMasterMk cId="3041212827" sldId="2147484283"/>
            <pc:sldLayoutMk cId="247447124" sldId="2147484323"/>
          </pc:sldLayoutMkLst>
        </pc:sldLayoutChg>
        <pc:sldLayoutChg chg="add del">
          <pc:chgData name="Lopez, Dave (BGA Aftmkt)" userId="3efd0e50-8734-4d76-9241-14ad2ed554f7" providerId="ADAL" clId="{51A3CEF3-8D54-45CE-A1B6-ADB8BB107BF3}" dt="2024-11-05T00:19:25.064" v="264" actId="47"/>
          <pc:sldLayoutMkLst>
            <pc:docMk/>
            <pc:sldMasterMk cId="3041212827" sldId="2147484283"/>
            <pc:sldLayoutMk cId="3610062708" sldId="2147484324"/>
          </pc:sldLayoutMkLst>
        </pc:sldLayoutChg>
        <pc:sldLayoutChg chg="add del">
          <pc:chgData name="Lopez, Dave (BGA Aftmkt)" userId="3efd0e50-8734-4d76-9241-14ad2ed554f7" providerId="ADAL" clId="{51A3CEF3-8D54-45CE-A1B6-ADB8BB107BF3}" dt="2024-11-05T00:19:25.064" v="264" actId="47"/>
          <pc:sldLayoutMkLst>
            <pc:docMk/>
            <pc:sldMasterMk cId="3041212827" sldId="2147484283"/>
            <pc:sldLayoutMk cId="239597099" sldId="2147484325"/>
          </pc:sldLayoutMkLst>
        </pc:sldLayoutChg>
        <pc:sldLayoutChg chg="add del">
          <pc:chgData name="Lopez, Dave (BGA Aftmkt)" userId="3efd0e50-8734-4d76-9241-14ad2ed554f7" providerId="ADAL" clId="{51A3CEF3-8D54-45CE-A1B6-ADB8BB107BF3}" dt="2024-11-05T00:19:25.064" v="264" actId="47"/>
          <pc:sldLayoutMkLst>
            <pc:docMk/>
            <pc:sldMasterMk cId="3041212827" sldId="2147484283"/>
            <pc:sldLayoutMk cId="2693755102" sldId="2147484326"/>
          </pc:sldLayoutMkLst>
        </pc:sldLayoutChg>
        <pc:sldLayoutChg chg="add del">
          <pc:chgData name="Lopez, Dave (BGA Aftmkt)" userId="3efd0e50-8734-4d76-9241-14ad2ed554f7" providerId="ADAL" clId="{51A3CEF3-8D54-45CE-A1B6-ADB8BB107BF3}" dt="2024-11-05T00:19:25.064" v="264" actId="47"/>
          <pc:sldLayoutMkLst>
            <pc:docMk/>
            <pc:sldMasterMk cId="3041212827" sldId="2147484283"/>
            <pc:sldLayoutMk cId="2351275203" sldId="2147484327"/>
          </pc:sldLayoutMkLst>
        </pc:sldLayoutChg>
        <pc:sldLayoutChg chg="add del">
          <pc:chgData name="Lopez, Dave (BGA Aftmkt)" userId="3efd0e50-8734-4d76-9241-14ad2ed554f7" providerId="ADAL" clId="{51A3CEF3-8D54-45CE-A1B6-ADB8BB107BF3}" dt="2024-11-05T00:19:25.064" v="264" actId="47"/>
          <pc:sldLayoutMkLst>
            <pc:docMk/>
            <pc:sldMasterMk cId="3041212827" sldId="2147484283"/>
            <pc:sldLayoutMk cId="1294183261" sldId="2147484328"/>
          </pc:sldLayoutMkLst>
        </pc:sldLayoutChg>
        <pc:sldLayoutChg chg="add del">
          <pc:chgData name="Lopez, Dave (BGA Aftmkt)" userId="3efd0e50-8734-4d76-9241-14ad2ed554f7" providerId="ADAL" clId="{51A3CEF3-8D54-45CE-A1B6-ADB8BB107BF3}" dt="2024-11-05T00:19:25.064" v="264" actId="47"/>
          <pc:sldLayoutMkLst>
            <pc:docMk/>
            <pc:sldMasterMk cId="3041212827" sldId="2147484283"/>
            <pc:sldLayoutMk cId="950951699" sldId="2147484330"/>
          </pc:sldLayoutMkLst>
        </pc:sldLayoutChg>
        <pc:sldLayoutChg chg="add del">
          <pc:chgData name="Lopez, Dave (BGA Aftmkt)" userId="3efd0e50-8734-4d76-9241-14ad2ed554f7" providerId="ADAL" clId="{51A3CEF3-8D54-45CE-A1B6-ADB8BB107BF3}" dt="2024-11-05T00:19:25.064" v="264" actId="47"/>
          <pc:sldLayoutMkLst>
            <pc:docMk/>
            <pc:sldMasterMk cId="3041212827" sldId="2147484283"/>
            <pc:sldLayoutMk cId="3190235059" sldId="2147484331"/>
          </pc:sldLayoutMkLst>
        </pc:sldLayoutChg>
        <pc:sldLayoutChg chg="add del">
          <pc:chgData name="Lopez, Dave (BGA Aftmkt)" userId="3efd0e50-8734-4d76-9241-14ad2ed554f7" providerId="ADAL" clId="{51A3CEF3-8D54-45CE-A1B6-ADB8BB107BF3}" dt="2024-11-05T00:19:25.064" v="264" actId="47"/>
          <pc:sldLayoutMkLst>
            <pc:docMk/>
            <pc:sldMasterMk cId="3041212827" sldId="2147484283"/>
            <pc:sldLayoutMk cId="326253086" sldId="2147484332"/>
          </pc:sldLayoutMkLst>
        </pc:sldLayoutChg>
        <pc:sldLayoutChg chg="add del">
          <pc:chgData name="Lopez, Dave (BGA Aftmkt)" userId="3efd0e50-8734-4d76-9241-14ad2ed554f7" providerId="ADAL" clId="{51A3CEF3-8D54-45CE-A1B6-ADB8BB107BF3}" dt="2024-11-05T00:19:25.064" v="264" actId="47"/>
          <pc:sldLayoutMkLst>
            <pc:docMk/>
            <pc:sldMasterMk cId="3041212827" sldId="2147484283"/>
            <pc:sldLayoutMk cId="1856234227" sldId="2147484333"/>
          </pc:sldLayoutMkLst>
        </pc:sldLayoutChg>
        <pc:sldLayoutChg chg="add del">
          <pc:chgData name="Lopez, Dave (BGA Aftmkt)" userId="3efd0e50-8734-4d76-9241-14ad2ed554f7" providerId="ADAL" clId="{51A3CEF3-8D54-45CE-A1B6-ADB8BB107BF3}" dt="2024-11-05T00:19:25.064" v="264" actId="47"/>
          <pc:sldLayoutMkLst>
            <pc:docMk/>
            <pc:sldMasterMk cId="3041212827" sldId="2147484283"/>
            <pc:sldLayoutMk cId="3186415905" sldId="2147484334"/>
          </pc:sldLayoutMkLst>
        </pc:sldLayoutChg>
        <pc:sldLayoutChg chg="add del">
          <pc:chgData name="Lopez, Dave (BGA Aftmkt)" userId="3efd0e50-8734-4d76-9241-14ad2ed554f7" providerId="ADAL" clId="{51A3CEF3-8D54-45CE-A1B6-ADB8BB107BF3}" dt="2024-11-05T00:19:25.064" v="264" actId="47"/>
          <pc:sldLayoutMkLst>
            <pc:docMk/>
            <pc:sldMasterMk cId="3041212827" sldId="2147484283"/>
            <pc:sldLayoutMk cId="118968846" sldId="2147484335"/>
          </pc:sldLayoutMkLst>
        </pc:sldLayoutChg>
        <pc:sldLayoutChg chg="add del">
          <pc:chgData name="Lopez, Dave (BGA Aftmkt)" userId="3efd0e50-8734-4d76-9241-14ad2ed554f7" providerId="ADAL" clId="{51A3CEF3-8D54-45CE-A1B6-ADB8BB107BF3}" dt="2024-11-05T00:19:25.064" v="264" actId="47"/>
          <pc:sldLayoutMkLst>
            <pc:docMk/>
            <pc:sldMasterMk cId="3041212827" sldId="2147484283"/>
            <pc:sldLayoutMk cId="2293979054" sldId="2147484336"/>
          </pc:sldLayoutMkLst>
        </pc:sldLayoutChg>
        <pc:sldLayoutChg chg="add del">
          <pc:chgData name="Lopez, Dave (BGA Aftmkt)" userId="3efd0e50-8734-4d76-9241-14ad2ed554f7" providerId="ADAL" clId="{51A3CEF3-8D54-45CE-A1B6-ADB8BB107BF3}" dt="2024-11-05T00:19:25.064" v="264" actId="47"/>
          <pc:sldLayoutMkLst>
            <pc:docMk/>
            <pc:sldMasterMk cId="3041212827" sldId="2147484283"/>
            <pc:sldLayoutMk cId="1308762454" sldId="2147484337"/>
          </pc:sldLayoutMkLst>
        </pc:sldLayoutChg>
        <pc:sldLayoutChg chg="add del">
          <pc:chgData name="Lopez, Dave (BGA Aftmkt)" userId="3efd0e50-8734-4d76-9241-14ad2ed554f7" providerId="ADAL" clId="{51A3CEF3-8D54-45CE-A1B6-ADB8BB107BF3}" dt="2024-11-05T00:19:25.064" v="264" actId="47"/>
          <pc:sldLayoutMkLst>
            <pc:docMk/>
            <pc:sldMasterMk cId="3041212827" sldId="2147484283"/>
            <pc:sldLayoutMk cId="1157019862" sldId="2147484338"/>
          </pc:sldLayoutMkLst>
        </pc:sldLayoutChg>
        <pc:sldLayoutChg chg="add del">
          <pc:chgData name="Lopez, Dave (BGA Aftmkt)" userId="3efd0e50-8734-4d76-9241-14ad2ed554f7" providerId="ADAL" clId="{51A3CEF3-8D54-45CE-A1B6-ADB8BB107BF3}" dt="2024-11-05T00:19:25.064" v="264" actId="47"/>
          <pc:sldLayoutMkLst>
            <pc:docMk/>
            <pc:sldMasterMk cId="3041212827" sldId="2147484283"/>
            <pc:sldLayoutMk cId="1007515454" sldId="2147484339"/>
          </pc:sldLayoutMkLst>
        </pc:sldLayoutChg>
        <pc:sldLayoutChg chg="add del">
          <pc:chgData name="Lopez, Dave (BGA Aftmkt)" userId="3efd0e50-8734-4d76-9241-14ad2ed554f7" providerId="ADAL" clId="{51A3CEF3-8D54-45CE-A1B6-ADB8BB107BF3}" dt="2024-11-05T00:19:25.064" v="264" actId="47"/>
          <pc:sldLayoutMkLst>
            <pc:docMk/>
            <pc:sldMasterMk cId="3041212827" sldId="2147484283"/>
            <pc:sldLayoutMk cId="207708555" sldId="2147484340"/>
          </pc:sldLayoutMkLst>
        </pc:sldLayoutChg>
        <pc:sldLayoutChg chg="add del">
          <pc:chgData name="Lopez, Dave (BGA Aftmkt)" userId="3efd0e50-8734-4d76-9241-14ad2ed554f7" providerId="ADAL" clId="{51A3CEF3-8D54-45CE-A1B6-ADB8BB107BF3}" dt="2024-11-05T00:19:25.064" v="264" actId="47"/>
          <pc:sldLayoutMkLst>
            <pc:docMk/>
            <pc:sldMasterMk cId="3041212827" sldId="2147484283"/>
            <pc:sldLayoutMk cId="3729036195" sldId="2147484341"/>
          </pc:sldLayoutMkLst>
        </pc:sldLayoutChg>
      </pc:sldMaster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9D85BC7-CD29-4699-BB3B-A9528E4DF22E}" type="doc">
      <dgm:prSet loTypeId="urn:microsoft.com/office/officeart/2005/8/layout/StepDownProcess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C481908-F5AC-418F-A6E8-45BEF666E5A3}">
      <dgm:prSet phldrT="[Text]" custT="1"/>
      <dgm:spPr/>
      <dgm:t>
        <a:bodyPr/>
        <a:lstStyle/>
        <a:p>
          <a:r>
            <a:rPr lang="en-US" sz="1600" dirty="0"/>
            <a:t>Bill of Material by Model / Event</a:t>
          </a:r>
        </a:p>
      </dgm:t>
    </dgm:pt>
    <dgm:pt modelId="{A7CE4BCD-4D83-4F62-92B8-5C4E6F1912CD}" type="parTrans" cxnId="{F14A5E83-3271-4BB6-B91E-70E01CAD33A2}">
      <dgm:prSet/>
      <dgm:spPr/>
      <dgm:t>
        <a:bodyPr/>
        <a:lstStyle/>
        <a:p>
          <a:endParaRPr lang="en-US"/>
        </a:p>
      </dgm:t>
    </dgm:pt>
    <dgm:pt modelId="{B7D27C8C-9BD0-4D4E-B729-58F75D0D148C}" type="sibTrans" cxnId="{F14A5E83-3271-4BB6-B91E-70E01CAD33A2}">
      <dgm:prSet/>
      <dgm:spPr/>
      <dgm:t>
        <a:bodyPr/>
        <a:lstStyle/>
        <a:p>
          <a:endParaRPr lang="en-US"/>
        </a:p>
      </dgm:t>
    </dgm:pt>
    <dgm:pt modelId="{F7F76BF5-86B3-4CF4-A6DC-FD354BDEE58E}">
      <dgm:prSet phldrT="[Text]" custT="1"/>
      <dgm:spPr/>
      <dgm:t>
        <a:bodyPr/>
        <a:lstStyle/>
        <a:p>
          <a:r>
            <a:rPr lang="en-US" sz="1400" dirty="0"/>
            <a:t>20 of each engine. What are the parts going into a repair</a:t>
          </a:r>
        </a:p>
      </dgm:t>
    </dgm:pt>
    <dgm:pt modelId="{B37E5C6F-85D1-43C2-B76F-184D6E00E47F}" type="parTrans" cxnId="{095571FB-C7CB-4BA6-8B21-7A0999C4A542}">
      <dgm:prSet/>
      <dgm:spPr/>
      <dgm:t>
        <a:bodyPr/>
        <a:lstStyle/>
        <a:p>
          <a:endParaRPr lang="en-US"/>
        </a:p>
      </dgm:t>
    </dgm:pt>
    <dgm:pt modelId="{74C5C271-DEA7-45E2-9337-B922711844AB}" type="sibTrans" cxnId="{095571FB-C7CB-4BA6-8B21-7A0999C4A542}">
      <dgm:prSet/>
      <dgm:spPr/>
      <dgm:t>
        <a:bodyPr/>
        <a:lstStyle/>
        <a:p>
          <a:endParaRPr lang="en-US"/>
        </a:p>
      </dgm:t>
    </dgm:pt>
    <dgm:pt modelId="{55ED8B8E-0E51-48D5-ACA8-71BE6E3C442F}">
      <dgm:prSet phldrT="[Text]" custT="1"/>
      <dgm:spPr/>
      <dgm:t>
        <a:bodyPr/>
        <a:lstStyle/>
        <a:p>
          <a:r>
            <a:rPr lang="en-US" sz="1600" dirty="0"/>
            <a:t>Replacement Rates</a:t>
          </a:r>
        </a:p>
      </dgm:t>
    </dgm:pt>
    <dgm:pt modelId="{C986B648-777F-4B68-BD1E-F12CD805B8BB}" type="parTrans" cxnId="{B4750DA1-8ECD-4A27-8713-2EF43CB10FB7}">
      <dgm:prSet/>
      <dgm:spPr/>
      <dgm:t>
        <a:bodyPr/>
        <a:lstStyle/>
        <a:p>
          <a:endParaRPr lang="en-US"/>
        </a:p>
      </dgm:t>
    </dgm:pt>
    <dgm:pt modelId="{607A1BC8-951F-4487-A46C-1718E4E00B18}" type="sibTrans" cxnId="{B4750DA1-8ECD-4A27-8713-2EF43CB10FB7}">
      <dgm:prSet/>
      <dgm:spPr/>
      <dgm:t>
        <a:bodyPr/>
        <a:lstStyle/>
        <a:p>
          <a:endParaRPr lang="en-US"/>
        </a:p>
      </dgm:t>
    </dgm:pt>
    <dgm:pt modelId="{2E87E4FF-2446-407F-A08E-92C1F3D65085}">
      <dgm:prSet phldrT="[Text]" custT="1"/>
      <dgm:spPr/>
      <dgm:t>
        <a:bodyPr/>
        <a:lstStyle/>
        <a:p>
          <a:r>
            <a:rPr lang="en-US" sz="1400" dirty="0"/>
            <a:t>Combustor P/N 123 </a:t>
          </a:r>
          <a:r>
            <a:rPr lang="en-US" sz="1400" b="1" dirty="0"/>
            <a:t>New</a:t>
          </a:r>
          <a:r>
            <a:rPr lang="en-US" sz="1400" dirty="0"/>
            <a:t> replacement rate</a:t>
          </a:r>
        </a:p>
      </dgm:t>
    </dgm:pt>
    <dgm:pt modelId="{DD232F1F-1F50-46B5-B62B-8FB21C8B120A}" type="parTrans" cxnId="{E27D1FD6-BA69-4824-880C-E0EB5E004887}">
      <dgm:prSet/>
      <dgm:spPr/>
      <dgm:t>
        <a:bodyPr/>
        <a:lstStyle/>
        <a:p>
          <a:endParaRPr lang="en-US"/>
        </a:p>
      </dgm:t>
    </dgm:pt>
    <dgm:pt modelId="{C96BC0D4-8EE6-4591-9D53-9B3DEBE474FE}" type="sibTrans" cxnId="{E27D1FD6-BA69-4824-880C-E0EB5E004887}">
      <dgm:prSet/>
      <dgm:spPr/>
      <dgm:t>
        <a:bodyPr/>
        <a:lstStyle/>
        <a:p>
          <a:endParaRPr lang="en-US"/>
        </a:p>
      </dgm:t>
    </dgm:pt>
    <dgm:pt modelId="{B317BB8C-BABC-495D-BF7F-8EE030E35B0C}">
      <dgm:prSet phldrT="[Text]" custT="1"/>
      <dgm:spPr/>
      <dgm:t>
        <a:bodyPr/>
        <a:lstStyle/>
        <a:p>
          <a:r>
            <a:rPr lang="en-US" sz="1600" dirty="0"/>
            <a:t>On order</a:t>
          </a:r>
        </a:p>
      </dgm:t>
    </dgm:pt>
    <dgm:pt modelId="{21F4F8C7-FB4E-4A8E-8590-24EC6873BE26}" type="parTrans" cxnId="{1D3DDBE0-D275-42DE-952F-A9088C391BB3}">
      <dgm:prSet/>
      <dgm:spPr/>
      <dgm:t>
        <a:bodyPr/>
        <a:lstStyle/>
        <a:p>
          <a:endParaRPr lang="en-US"/>
        </a:p>
      </dgm:t>
    </dgm:pt>
    <dgm:pt modelId="{8031A022-630C-44E4-ADBA-B0725C7B4312}" type="sibTrans" cxnId="{1D3DDBE0-D275-42DE-952F-A9088C391BB3}">
      <dgm:prSet/>
      <dgm:spPr/>
      <dgm:t>
        <a:bodyPr/>
        <a:lstStyle/>
        <a:p>
          <a:endParaRPr lang="en-US"/>
        </a:p>
      </dgm:t>
    </dgm:pt>
    <dgm:pt modelId="{F4667BB3-E42E-404E-BC69-261DF492DADE}">
      <dgm:prSet phldrT="[Text]" custT="1"/>
      <dgm:spPr/>
      <dgm:t>
        <a:bodyPr/>
        <a:lstStyle/>
        <a:p>
          <a:r>
            <a:rPr lang="en-US" sz="1400" dirty="0"/>
            <a:t>On order aligned to events </a:t>
          </a:r>
        </a:p>
      </dgm:t>
    </dgm:pt>
    <dgm:pt modelId="{2EE17424-D71A-432C-942A-F921C1A9B77B}" type="parTrans" cxnId="{9D0A53DD-317D-46A3-93A8-4E7089A6D227}">
      <dgm:prSet/>
      <dgm:spPr/>
      <dgm:t>
        <a:bodyPr/>
        <a:lstStyle/>
        <a:p>
          <a:endParaRPr lang="en-US"/>
        </a:p>
      </dgm:t>
    </dgm:pt>
    <dgm:pt modelId="{E1B1AB3A-5558-4482-86AB-BD9DD85D7B26}" type="sibTrans" cxnId="{9D0A53DD-317D-46A3-93A8-4E7089A6D227}">
      <dgm:prSet/>
      <dgm:spPr/>
      <dgm:t>
        <a:bodyPr/>
        <a:lstStyle/>
        <a:p>
          <a:endParaRPr lang="en-US"/>
        </a:p>
      </dgm:t>
    </dgm:pt>
    <dgm:pt modelId="{41ED4D7E-BE35-4A6E-8429-F5EEAE07172D}">
      <dgm:prSet phldrT="[Text]" custT="1"/>
      <dgm:spPr/>
      <dgm:t>
        <a:bodyPr/>
        <a:lstStyle/>
        <a:p>
          <a:r>
            <a:rPr lang="en-US" sz="1400" dirty="0"/>
            <a:t>Combustor P/N 123 </a:t>
          </a:r>
          <a:r>
            <a:rPr lang="en-US" sz="1400" b="1" dirty="0"/>
            <a:t>Exchange</a:t>
          </a:r>
          <a:r>
            <a:rPr lang="en-US" sz="1400" dirty="0"/>
            <a:t> replacement rate</a:t>
          </a:r>
        </a:p>
      </dgm:t>
    </dgm:pt>
    <dgm:pt modelId="{904DBD0D-5CD4-40B9-A478-8639EAD250AA}" type="parTrans" cxnId="{07DBCBEE-3760-4DCD-B0A2-BCD4EC9FCDC4}">
      <dgm:prSet/>
      <dgm:spPr/>
      <dgm:t>
        <a:bodyPr/>
        <a:lstStyle/>
        <a:p>
          <a:endParaRPr lang="en-US"/>
        </a:p>
      </dgm:t>
    </dgm:pt>
    <dgm:pt modelId="{86749563-FA50-4DDF-9236-E2A40864AB49}" type="sibTrans" cxnId="{07DBCBEE-3760-4DCD-B0A2-BCD4EC9FCDC4}">
      <dgm:prSet/>
      <dgm:spPr/>
      <dgm:t>
        <a:bodyPr/>
        <a:lstStyle/>
        <a:p>
          <a:endParaRPr lang="en-US"/>
        </a:p>
      </dgm:t>
    </dgm:pt>
    <dgm:pt modelId="{EC028FBC-D68B-4E66-95DC-EA293CF2A06C}">
      <dgm:prSet phldrT="[Text]" custT="1"/>
      <dgm:spPr/>
      <dgm:t>
        <a:bodyPr/>
        <a:lstStyle/>
        <a:p>
          <a:r>
            <a:rPr lang="en-US" sz="1400" dirty="0"/>
            <a:t>Rework new details needed for exchange combustor</a:t>
          </a:r>
        </a:p>
      </dgm:t>
    </dgm:pt>
    <dgm:pt modelId="{E277A17B-2623-4B16-8785-AFBBBFE7C19F}" type="parTrans" cxnId="{43CAF0CA-EA05-40BD-8D32-B3E6FF6B71FF}">
      <dgm:prSet/>
      <dgm:spPr/>
      <dgm:t>
        <a:bodyPr/>
        <a:lstStyle/>
        <a:p>
          <a:endParaRPr lang="en-US"/>
        </a:p>
      </dgm:t>
    </dgm:pt>
    <dgm:pt modelId="{C4F9513F-F49C-475B-B581-9F3DDC41B038}" type="sibTrans" cxnId="{43CAF0CA-EA05-40BD-8D32-B3E6FF6B71FF}">
      <dgm:prSet/>
      <dgm:spPr/>
      <dgm:t>
        <a:bodyPr/>
        <a:lstStyle/>
        <a:p>
          <a:endParaRPr lang="en-US"/>
        </a:p>
      </dgm:t>
    </dgm:pt>
    <dgm:pt modelId="{5E55D0EF-F748-4300-9BEB-ED4D6D074D71}">
      <dgm:prSet phldrT="[Text]" custT="1"/>
      <dgm:spPr/>
      <dgm:t>
        <a:bodyPr/>
        <a:lstStyle/>
        <a:p>
          <a:r>
            <a:rPr lang="en-US" sz="1400" dirty="0"/>
            <a:t>New, exchange, repair </a:t>
          </a:r>
        </a:p>
      </dgm:t>
    </dgm:pt>
    <dgm:pt modelId="{4BFBA602-A901-418E-B76B-639FF2314CE2}" type="parTrans" cxnId="{A15DD0A7-3496-4EA1-AE0A-BD6874FC1C3D}">
      <dgm:prSet/>
      <dgm:spPr/>
      <dgm:t>
        <a:bodyPr/>
        <a:lstStyle/>
        <a:p>
          <a:endParaRPr lang="en-US"/>
        </a:p>
      </dgm:t>
    </dgm:pt>
    <dgm:pt modelId="{EDA3810A-97A6-4C02-99A9-C3337A643EDD}" type="sibTrans" cxnId="{A15DD0A7-3496-4EA1-AE0A-BD6874FC1C3D}">
      <dgm:prSet/>
      <dgm:spPr/>
      <dgm:t>
        <a:bodyPr/>
        <a:lstStyle/>
        <a:p>
          <a:endParaRPr lang="en-US"/>
        </a:p>
      </dgm:t>
    </dgm:pt>
    <dgm:pt modelId="{B9751FA8-7CE8-497E-9C5E-2158D84B3DD4}">
      <dgm:prSet phldrT="[Text]" custT="1"/>
      <dgm:spPr/>
      <dgm:t>
        <a:bodyPr/>
        <a:lstStyle/>
        <a:p>
          <a:r>
            <a:rPr lang="en-US" sz="1400" dirty="0"/>
            <a:t>Increase / Decrease on order</a:t>
          </a:r>
        </a:p>
      </dgm:t>
    </dgm:pt>
    <dgm:pt modelId="{4C9A533E-7225-46B9-ABFD-3E4A533198AC}" type="parTrans" cxnId="{37E43DC4-0450-4935-BC12-F66D6DE50FA7}">
      <dgm:prSet/>
      <dgm:spPr/>
      <dgm:t>
        <a:bodyPr/>
        <a:lstStyle/>
        <a:p>
          <a:endParaRPr lang="en-US"/>
        </a:p>
      </dgm:t>
    </dgm:pt>
    <dgm:pt modelId="{3F13B379-077C-4CD1-B36F-DA1CE528F2EE}" type="sibTrans" cxnId="{37E43DC4-0450-4935-BC12-F66D6DE50FA7}">
      <dgm:prSet/>
      <dgm:spPr/>
      <dgm:t>
        <a:bodyPr/>
        <a:lstStyle/>
        <a:p>
          <a:endParaRPr lang="en-US"/>
        </a:p>
      </dgm:t>
    </dgm:pt>
    <dgm:pt modelId="{3734E51F-522C-4853-8849-D2DC1113EFD1}">
      <dgm:prSet phldrT="[Text]" custT="1"/>
      <dgm:spPr/>
      <dgm:t>
        <a:bodyPr/>
        <a:lstStyle/>
        <a:p>
          <a:r>
            <a:rPr lang="en-US" sz="1400" dirty="0"/>
            <a:t>Supplier or Internal Honeywell</a:t>
          </a:r>
        </a:p>
      </dgm:t>
    </dgm:pt>
    <dgm:pt modelId="{D8781E06-0DB3-44CA-A637-94AC305F00FE}" type="parTrans" cxnId="{DF597A42-A083-4D64-A21A-29E11623D79D}">
      <dgm:prSet/>
      <dgm:spPr/>
      <dgm:t>
        <a:bodyPr/>
        <a:lstStyle/>
        <a:p>
          <a:endParaRPr lang="en-US"/>
        </a:p>
      </dgm:t>
    </dgm:pt>
    <dgm:pt modelId="{20AD1BB7-2C37-44C4-B227-89B0C5B69E3F}" type="sibTrans" cxnId="{DF597A42-A083-4D64-A21A-29E11623D79D}">
      <dgm:prSet/>
      <dgm:spPr/>
      <dgm:t>
        <a:bodyPr/>
        <a:lstStyle/>
        <a:p>
          <a:endParaRPr lang="en-US"/>
        </a:p>
      </dgm:t>
    </dgm:pt>
    <dgm:pt modelId="{0336A981-7266-4BB5-8063-D9AFB60E9CD7}" type="pres">
      <dgm:prSet presAssocID="{F9D85BC7-CD29-4699-BB3B-A9528E4DF22E}" presName="rootnode" presStyleCnt="0">
        <dgm:presLayoutVars>
          <dgm:chMax/>
          <dgm:chPref/>
          <dgm:dir/>
          <dgm:animLvl val="lvl"/>
        </dgm:presLayoutVars>
      </dgm:prSet>
      <dgm:spPr/>
    </dgm:pt>
    <dgm:pt modelId="{181D3793-22BF-412B-8E35-EE5E14EB82E0}" type="pres">
      <dgm:prSet presAssocID="{6C481908-F5AC-418F-A6E8-45BEF666E5A3}" presName="composite" presStyleCnt="0"/>
      <dgm:spPr/>
    </dgm:pt>
    <dgm:pt modelId="{D1B0C289-F757-4A57-A16D-106CD9184A6C}" type="pres">
      <dgm:prSet presAssocID="{6C481908-F5AC-418F-A6E8-45BEF666E5A3}" presName="bentUpArrow1" presStyleLbl="alignImgPlace1" presStyleIdx="0" presStyleCnt="2" custLinFactX="-23907" custLinFactNeighborX="-100000" custLinFactNeighborY="33440"/>
      <dgm:spPr/>
    </dgm:pt>
    <dgm:pt modelId="{B31F2340-7A2E-4A02-9ECB-339EEFEEA637}" type="pres">
      <dgm:prSet presAssocID="{6C481908-F5AC-418F-A6E8-45BEF666E5A3}" presName="ParentText" presStyleLbl="node1" presStyleIdx="0" presStyleCnt="3" custScaleX="196397" custScaleY="137191" custLinFactX="-49447" custLinFactNeighborX="-100000" custLinFactNeighborY="-5279">
        <dgm:presLayoutVars>
          <dgm:chMax val="1"/>
          <dgm:chPref val="1"/>
          <dgm:bulletEnabled val="1"/>
        </dgm:presLayoutVars>
      </dgm:prSet>
      <dgm:spPr/>
    </dgm:pt>
    <dgm:pt modelId="{227AB86B-2E29-48B5-A86A-0537B0882117}" type="pres">
      <dgm:prSet presAssocID="{6C481908-F5AC-418F-A6E8-45BEF666E5A3}" presName="ChildText" presStyleLbl="revTx" presStyleIdx="0" presStyleCnt="3" custScaleX="854357" custLinFactX="100000" custLinFactNeighborX="175222" custLinFactNeighborY="-19901">
        <dgm:presLayoutVars>
          <dgm:chMax val="0"/>
          <dgm:chPref val="0"/>
          <dgm:bulletEnabled val="1"/>
        </dgm:presLayoutVars>
      </dgm:prSet>
      <dgm:spPr/>
    </dgm:pt>
    <dgm:pt modelId="{0F2DD6CA-AA1A-4B37-B50B-1C4DB8615A2D}" type="pres">
      <dgm:prSet presAssocID="{B7D27C8C-9BD0-4D4E-B729-58F75D0D148C}" presName="sibTrans" presStyleCnt="0"/>
      <dgm:spPr/>
    </dgm:pt>
    <dgm:pt modelId="{455B3905-1682-453A-A16D-0FBEF36E4692}" type="pres">
      <dgm:prSet presAssocID="{55ED8B8E-0E51-48D5-ACA8-71BE6E3C442F}" presName="composite" presStyleCnt="0"/>
      <dgm:spPr/>
    </dgm:pt>
    <dgm:pt modelId="{1E8500E7-C8ED-46A7-9084-8BA87674E929}" type="pres">
      <dgm:prSet presAssocID="{55ED8B8E-0E51-48D5-ACA8-71BE6E3C442F}" presName="bentUpArrow1" presStyleLbl="alignImgPlace1" presStyleIdx="1" presStyleCnt="2" custLinFactX="-100000" custLinFactNeighborX="-141959" custLinFactNeighborY="58577"/>
      <dgm:spPr/>
    </dgm:pt>
    <dgm:pt modelId="{CC4DD8EB-D09D-4782-8D2E-E623F0B38E3F}" type="pres">
      <dgm:prSet presAssocID="{55ED8B8E-0E51-48D5-ACA8-71BE6E3C442F}" presName="ParentText" presStyleLbl="node1" presStyleIdx="1" presStyleCnt="3" custScaleX="207992" custLinFactX="-100000" custLinFactNeighborX="-104349" custLinFactNeighborY="29247">
        <dgm:presLayoutVars>
          <dgm:chMax val="1"/>
          <dgm:chPref val="1"/>
          <dgm:bulletEnabled val="1"/>
        </dgm:presLayoutVars>
      </dgm:prSet>
      <dgm:spPr/>
    </dgm:pt>
    <dgm:pt modelId="{A2B885B5-11F6-4425-9AFD-856F18A72D02}" type="pres">
      <dgm:prSet presAssocID="{55ED8B8E-0E51-48D5-ACA8-71BE6E3C442F}" presName="ChildText" presStyleLbl="revTx" presStyleIdx="1" presStyleCnt="3" custScaleX="762281" custLinFactX="23298" custLinFactNeighborX="100000" custLinFactNeighborY="34473">
        <dgm:presLayoutVars>
          <dgm:chMax val="0"/>
          <dgm:chPref val="0"/>
          <dgm:bulletEnabled val="1"/>
        </dgm:presLayoutVars>
      </dgm:prSet>
      <dgm:spPr/>
    </dgm:pt>
    <dgm:pt modelId="{7E18E40C-4BDD-48B5-9D7A-8A1BF1A1F3E8}" type="pres">
      <dgm:prSet presAssocID="{607A1BC8-951F-4487-A46C-1718E4E00B18}" presName="sibTrans" presStyleCnt="0"/>
      <dgm:spPr/>
    </dgm:pt>
    <dgm:pt modelId="{BF9CA659-57D0-4273-82C9-CC0D2702D38B}" type="pres">
      <dgm:prSet presAssocID="{B317BB8C-BABC-495D-BF7F-8EE030E35B0C}" presName="composite" presStyleCnt="0"/>
      <dgm:spPr/>
    </dgm:pt>
    <dgm:pt modelId="{EEE7F7F1-6A68-4BE3-9458-C17A25EFA314}" type="pres">
      <dgm:prSet presAssocID="{B317BB8C-BABC-495D-BF7F-8EE030E35B0C}" presName="ParentText" presStyleLbl="node1" presStyleIdx="2" presStyleCnt="3" custLinFactX="-100000" custLinFactNeighborX="-162258" custLinFactNeighborY="62497">
        <dgm:presLayoutVars>
          <dgm:chMax val="1"/>
          <dgm:chPref val="1"/>
          <dgm:bulletEnabled val="1"/>
        </dgm:presLayoutVars>
      </dgm:prSet>
      <dgm:spPr/>
    </dgm:pt>
    <dgm:pt modelId="{09A58B84-5B69-4B42-84DF-B2F38E51396F}" type="pres">
      <dgm:prSet presAssocID="{B317BB8C-BABC-495D-BF7F-8EE030E35B0C}" presName="FinalChildText" presStyleLbl="revTx" presStyleIdx="2" presStyleCnt="3" custScaleX="493686" custLinFactX="-53530" custLinFactNeighborX="-100000" custLinFactNeighborY="80232">
        <dgm:presLayoutVars>
          <dgm:chMax val="0"/>
          <dgm:chPref val="0"/>
          <dgm:bulletEnabled val="1"/>
        </dgm:presLayoutVars>
      </dgm:prSet>
      <dgm:spPr/>
    </dgm:pt>
  </dgm:ptLst>
  <dgm:cxnLst>
    <dgm:cxn modelId="{B737C507-EE99-455F-BB8F-7A7384D4EAFF}" type="presOf" srcId="{B317BB8C-BABC-495D-BF7F-8EE030E35B0C}" destId="{EEE7F7F1-6A68-4BE3-9458-C17A25EFA314}" srcOrd="0" destOrd="0" presId="urn:microsoft.com/office/officeart/2005/8/layout/StepDownProcess"/>
    <dgm:cxn modelId="{1AF3A03A-D080-4E85-8C08-00B8AADE4EA0}" type="presOf" srcId="{EC028FBC-D68B-4E66-95DC-EA293CF2A06C}" destId="{A2B885B5-11F6-4425-9AFD-856F18A72D02}" srcOrd="0" destOrd="2" presId="urn:microsoft.com/office/officeart/2005/8/layout/StepDownProcess"/>
    <dgm:cxn modelId="{2AE85441-F239-4DA9-B68A-3555E834A113}" type="presOf" srcId="{6C481908-F5AC-418F-A6E8-45BEF666E5A3}" destId="{B31F2340-7A2E-4A02-9ECB-339EEFEEA637}" srcOrd="0" destOrd="0" presId="urn:microsoft.com/office/officeart/2005/8/layout/StepDownProcess"/>
    <dgm:cxn modelId="{DF597A42-A083-4D64-A21A-29E11623D79D}" srcId="{B317BB8C-BABC-495D-BF7F-8EE030E35B0C}" destId="{3734E51F-522C-4853-8849-D2DC1113EFD1}" srcOrd="2" destOrd="0" parTransId="{D8781E06-0DB3-44CA-A637-94AC305F00FE}" sibTransId="{20AD1BB7-2C37-44C4-B227-89B0C5B69E3F}"/>
    <dgm:cxn modelId="{F14A5E83-3271-4BB6-B91E-70E01CAD33A2}" srcId="{F9D85BC7-CD29-4699-BB3B-A9528E4DF22E}" destId="{6C481908-F5AC-418F-A6E8-45BEF666E5A3}" srcOrd="0" destOrd="0" parTransId="{A7CE4BCD-4D83-4F62-92B8-5C4E6F1912CD}" sibTransId="{B7D27C8C-9BD0-4D4E-B729-58F75D0D148C}"/>
    <dgm:cxn modelId="{43E9D48C-4129-47E1-B0CC-0B3FB692F902}" type="presOf" srcId="{F9D85BC7-CD29-4699-BB3B-A9528E4DF22E}" destId="{0336A981-7266-4BB5-8063-D9AFB60E9CD7}" srcOrd="0" destOrd="0" presId="urn:microsoft.com/office/officeart/2005/8/layout/StepDownProcess"/>
    <dgm:cxn modelId="{171516A0-48AA-48DC-8DC9-FB78A9653EF9}" type="presOf" srcId="{3734E51F-522C-4853-8849-D2DC1113EFD1}" destId="{09A58B84-5B69-4B42-84DF-B2F38E51396F}" srcOrd="0" destOrd="2" presId="urn:microsoft.com/office/officeart/2005/8/layout/StepDownProcess"/>
    <dgm:cxn modelId="{B4750DA1-8ECD-4A27-8713-2EF43CB10FB7}" srcId="{F9D85BC7-CD29-4699-BB3B-A9528E4DF22E}" destId="{55ED8B8E-0E51-48D5-ACA8-71BE6E3C442F}" srcOrd="1" destOrd="0" parTransId="{C986B648-777F-4B68-BD1E-F12CD805B8BB}" sibTransId="{607A1BC8-951F-4487-A46C-1718E4E00B18}"/>
    <dgm:cxn modelId="{D4730EA4-CFA3-4D0A-AA07-2642A7CD0197}" type="presOf" srcId="{41ED4D7E-BE35-4A6E-8429-F5EEAE07172D}" destId="{A2B885B5-11F6-4425-9AFD-856F18A72D02}" srcOrd="0" destOrd="1" presId="urn:microsoft.com/office/officeart/2005/8/layout/StepDownProcess"/>
    <dgm:cxn modelId="{A15DD0A7-3496-4EA1-AE0A-BD6874FC1C3D}" srcId="{6C481908-F5AC-418F-A6E8-45BEF666E5A3}" destId="{5E55D0EF-F748-4300-9BEB-ED4D6D074D71}" srcOrd="1" destOrd="0" parTransId="{4BFBA602-A901-418E-B76B-639FF2314CE2}" sibTransId="{EDA3810A-97A6-4C02-99A9-C3337A643EDD}"/>
    <dgm:cxn modelId="{37E43DC4-0450-4935-BC12-F66D6DE50FA7}" srcId="{B317BB8C-BABC-495D-BF7F-8EE030E35B0C}" destId="{B9751FA8-7CE8-497E-9C5E-2158D84B3DD4}" srcOrd="1" destOrd="0" parTransId="{4C9A533E-7225-46B9-ABFD-3E4A533198AC}" sibTransId="{3F13B379-077C-4CD1-B36F-DA1CE528F2EE}"/>
    <dgm:cxn modelId="{BA63BBC9-22BC-4CEE-BBCB-9F290C08DD57}" type="presOf" srcId="{F4667BB3-E42E-404E-BC69-261DF492DADE}" destId="{09A58B84-5B69-4B42-84DF-B2F38E51396F}" srcOrd="0" destOrd="0" presId="urn:microsoft.com/office/officeart/2005/8/layout/StepDownProcess"/>
    <dgm:cxn modelId="{43CAF0CA-EA05-40BD-8D32-B3E6FF6B71FF}" srcId="{55ED8B8E-0E51-48D5-ACA8-71BE6E3C442F}" destId="{EC028FBC-D68B-4E66-95DC-EA293CF2A06C}" srcOrd="2" destOrd="0" parTransId="{E277A17B-2623-4B16-8785-AFBBBFE7C19F}" sibTransId="{C4F9513F-F49C-475B-B581-9F3DDC41B038}"/>
    <dgm:cxn modelId="{E27D1FD6-BA69-4824-880C-E0EB5E004887}" srcId="{55ED8B8E-0E51-48D5-ACA8-71BE6E3C442F}" destId="{2E87E4FF-2446-407F-A08E-92C1F3D65085}" srcOrd="0" destOrd="0" parTransId="{DD232F1F-1F50-46B5-B62B-8FB21C8B120A}" sibTransId="{C96BC0D4-8EE6-4591-9D53-9B3DEBE474FE}"/>
    <dgm:cxn modelId="{4A12F1D9-FE40-4484-9B1B-543DF6687828}" type="presOf" srcId="{2E87E4FF-2446-407F-A08E-92C1F3D65085}" destId="{A2B885B5-11F6-4425-9AFD-856F18A72D02}" srcOrd="0" destOrd="0" presId="urn:microsoft.com/office/officeart/2005/8/layout/StepDownProcess"/>
    <dgm:cxn modelId="{9D0A53DD-317D-46A3-93A8-4E7089A6D227}" srcId="{B317BB8C-BABC-495D-BF7F-8EE030E35B0C}" destId="{F4667BB3-E42E-404E-BC69-261DF492DADE}" srcOrd="0" destOrd="0" parTransId="{2EE17424-D71A-432C-942A-F921C1A9B77B}" sibTransId="{E1B1AB3A-5558-4482-86AB-BD9DD85D7B26}"/>
    <dgm:cxn modelId="{1D3DDBE0-D275-42DE-952F-A9088C391BB3}" srcId="{F9D85BC7-CD29-4699-BB3B-A9528E4DF22E}" destId="{B317BB8C-BABC-495D-BF7F-8EE030E35B0C}" srcOrd="2" destOrd="0" parTransId="{21F4F8C7-FB4E-4A8E-8590-24EC6873BE26}" sibTransId="{8031A022-630C-44E4-ADBA-B0725C7B4312}"/>
    <dgm:cxn modelId="{07DBCBEE-3760-4DCD-B0A2-BCD4EC9FCDC4}" srcId="{55ED8B8E-0E51-48D5-ACA8-71BE6E3C442F}" destId="{41ED4D7E-BE35-4A6E-8429-F5EEAE07172D}" srcOrd="1" destOrd="0" parTransId="{904DBD0D-5CD4-40B9-A478-8639EAD250AA}" sibTransId="{86749563-FA50-4DDF-9236-E2A40864AB49}"/>
    <dgm:cxn modelId="{28F8DCF2-29CB-4503-93CD-A5167BAF40EA}" type="presOf" srcId="{5E55D0EF-F748-4300-9BEB-ED4D6D074D71}" destId="{227AB86B-2E29-48B5-A86A-0537B0882117}" srcOrd="0" destOrd="1" presId="urn:microsoft.com/office/officeart/2005/8/layout/StepDownProcess"/>
    <dgm:cxn modelId="{A5782CF8-2B92-4240-A676-4003A5C179F6}" type="presOf" srcId="{F7F76BF5-86B3-4CF4-A6DC-FD354BDEE58E}" destId="{227AB86B-2E29-48B5-A86A-0537B0882117}" srcOrd="0" destOrd="0" presId="urn:microsoft.com/office/officeart/2005/8/layout/StepDownProcess"/>
    <dgm:cxn modelId="{0F92FBF9-3160-4D50-B8DB-F71B7C939773}" type="presOf" srcId="{55ED8B8E-0E51-48D5-ACA8-71BE6E3C442F}" destId="{CC4DD8EB-D09D-4782-8D2E-E623F0B38E3F}" srcOrd="0" destOrd="0" presId="urn:microsoft.com/office/officeart/2005/8/layout/StepDownProcess"/>
    <dgm:cxn modelId="{095571FB-C7CB-4BA6-8B21-7A0999C4A542}" srcId="{6C481908-F5AC-418F-A6E8-45BEF666E5A3}" destId="{F7F76BF5-86B3-4CF4-A6DC-FD354BDEE58E}" srcOrd="0" destOrd="0" parTransId="{B37E5C6F-85D1-43C2-B76F-184D6E00E47F}" sibTransId="{74C5C271-DEA7-45E2-9337-B922711844AB}"/>
    <dgm:cxn modelId="{AA30E6FB-4F2D-445A-AA2C-9C70A0C3C8DA}" type="presOf" srcId="{B9751FA8-7CE8-497E-9C5E-2158D84B3DD4}" destId="{09A58B84-5B69-4B42-84DF-B2F38E51396F}" srcOrd="0" destOrd="1" presId="urn:microsoft.com/office/officeart/2005/8/layout/StepDownProcess"/>
    <dgm:cxn modelId="{93993186-63B0-498D-B593-9C5ADA08CEE7}" type="presParOf" srcId="{0336A981-7266-4BB5-8063-D9AFB60E9CD7}" destId="{181D3793-22BF-412B-8E35-EE5E14EB82E0}" srcOrd="0" destOrd="0" presId="urn:microsoft.com/office/officeart/2005/8/layout/StepDownProcess"/>
    <dgm:cxn modelId="{941A647E-08A5-45F8-8996-23C0BD0A5243}" type="presParOf" srcId="{181D3793-22BF-412B-8E35-EE5E14EB82E0}" destId="{D1B0C289-F757-4A57-A16D-106CD9184A6C}" srcOrd="0" destOrd="0" presId="urn:microsoft.com/office/officeart/2005/8/layout/StepDownProcess"/>
    <dgm:cxn modelId="{4ACDA28C-944D-402B-B8EE-A83DFB7B745E}" type="presParOf" srcId="{181D3793-22BF-412B-8E35-EE5E14EB82E0}" destId="{B31F2340-7A2E-4A02-9ECB-339EEFEEA637}" srcOrd="1" destOrd="0" presId="urn:microsoft.com/office/officeart/2005/8/layout/StepDownProcess"/>
    <dgm:cxn modelId="{F1B0C2BE-48CC-44D9-9A31-9A98A920D174}" type="presParOf" srcId="{181D3793-22BF-412B-8E35-EE5E14EB82E0}" destId="{227AB86B-2E29-48B5-A86A-0537B0882117}" srcOrd="2" destOrd="0" presId="urn:microsoft.com/office/officeart/2005/8/layout/StepDownProcess"/>
    <dgm:cxn modelId="{8E31A941-2AB9-4DF1-8B8C-EA949C9F547E}" type="presParOf" srcId="{0336A981-7266-4BB5-8063-D9AFB60E9CD7}" destId="{0F2DD6CA-AA1A-4B37-B50B-1C4DB8615A2D}" srcOrd="1" destOrd="0" presId="urn:microsoft.com/office/officeart/2005/8/layout/StepDownProcess"/>
    <dgm:cxn modelId="{A35518B5-F429-4571-8CA7-3266EEB44306}" type="presParOf" srcId="{0336A981-7266-4BB5-8063-D9AFB60E9CD7}" destId="{455B3905-1682-453A-A16D-0FBEF36E4692}" srcOrd="2" destOrd="0" presId="urn:microsoft.com/office/officeart/2005/8/layout/StepDownProcess"/>
    <dgm:cxn modelId="{2B795621-7758-46A5-8584-482EC3BE94D5}" type="presParOf" srcId="{455B3905-1682-453A-A16D-0FBEF36E4692}" destId="{1E8500E7-C8ED-46A7-9084-8BA87674E929}" srcOrd="0" destOrd="0" presId="urn:microsoft.com/office/officeart/2005/8/layout/StepDownProcess"/>
    <dgm:cxn modelId="{E26F57CB-3538-4690-AF24-F36886B5CAAF}" type="presParOf" srcId="{455B3905-1682-453A-A16D-0FBEF36E4692}" destId="{CC4DD8EB-D09D-4782-8D2E-E623F0B38E3F}" srcOrd="1" destOrd="0" presId="urn:microsoft.com/office/officeart/2005/8/layout/StepDownProcess"/>
    <dgm:cxn modelId="{788BF52B-9714-4A2E-90ED-3F5EB09E6B59}" type="presParOf" srcId="{455B3905-1682-453A-A16D-0FBEF36E4692}" destId="{A2B885B5-11F6-4425-9AFD-856F18A72D02}" srcOrd="2" destOrd="0" presId="urn:microsoft.com/office/officeart/2005/8/layout/StepDownProcess"/>
    <dgm:cxn modelId="{4025638A-52AB-4E89-AE5E-5C108A28B115}" type="presParOf" srcId="{0336A981-7266-4BB5-8063-D9AFB60E9CD7}" destId="{7E18E40C-4BDD-48B5-9D7A-8A1BF1A1F3E8}" srcOrd="3" destOrd="0" presId="urn:microsoft.com/office/officeart/2005/8/layout/StepDownProcess"/>
    <dgm:cxn modelId="{210EF467-3BC0-4460-B7DD-1EC565FF8536}" type="presParOf" srcId="{0336A981-7266-4BB5-8063-D9AFB60E9CD7}" destId="{BF9CA659-57D0-4273-82C9-CC0D2702D38B}" srcOrd="4" destOrd="0" presId="urn:microsoft.com/office/officeart/2005/8/layout/StepDownProcess"/>
    <dgm:cxn modelId="{B0BCA9C7-E511-4EF7-BAD4-062C1BE13BCB}" type="presParOf" srcId="{BF9CA659-57D0-4273-82C9-CC0D2702D38B}" destId="{EEE7F7F1-6A68-4BE3-9458-C17A25EFA314}" srcOrd="0" destOrd="0" presId="urn:microsoft.com/office/officeart/2005/8/layout/StepDownProcess"/>
    <dgm:cxn modelId="{3EB565D7-3267-41DD-AD06-5FBE748D6032}" type="presParOf" srcId="{BF9CA659-57D0-4273-82C9-CC0D2702D38B}" destId="{09A58B84-5B69-4B42-84DF-B2F38E51396F}" srcOrd="1" destOrd="0" presId="urn:microsoft.com/office/officeart/2005/8/layout/StepDownProces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1B0C289-F757-4A57-A16D-106CD9184A6C}">
      <dsp:nvSpPr>
        <dsp:cNvPr id="0" name=""/>
        <dsp:cNvSpPr/>
      </dsp:nvSpPr>
      <dsp:spPr>
        <a:xfrm rot="5400000">
          <a:off x="850945" y="1649092"/>
          <a:ext cx="473989" cy="539620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31F2340-7A2E-4A02-9ECB-339EEFEEA637}">
      <dsp:nvSpPr>
        <dsp:cNvPr id="0" name=""/>
        <dsp:cNvSpPr/>
      </dsp:nvSpPr>
      <dsp:spPr>
        <a:xfrm>
          <a:off x="0" y="831819"/>
          <a:ext cx="1567089" cy="766235"/>
        </a:xfrm>
        <a:prstGeom prst="roundRect">
          <a:avLst>
            <a:gd name="adj" fmla="val 166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Bill of Material by Model / Event</a:t>
          </a:r>
        </a:p>
      </dsp:txBody>
      <dsp:txXfrm>
        <a:off x="37411" y="869230"/>
        <a:ext cx="1492267" cy="691413"/>
      </dsp:txXfrm>
    </dsp:sp>
    <dsp:sp modelId="{227AB86B-2E29-48B5-A86A-0537B0882117}">
      <dsp:nvSpPr>
        <dsp:cNvPr id="0" name=""/>
        <dsp:cNvSpPr/>
      </dsp:nvSpPr>
      <dsp:spPr>
        <a:xfrm>
          <a:off x="1600229" y="928593"/>
          <a:ext cx="4958093" cy="45141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/>
            <a:t>20 of each engine. What are the parts going into a repair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/>
            <a:t>New, exchange, repair </a:t>
          </a:r>
        </a:p>
      </dsp:txBody>
      <dsp:txXfrm>
        <a:off x="1600229" y="928593"/>
        <a:ext cx="4958093" cy="451418"/>
      </dsp:txXfrm>
    </dsp:sp>
    <dsp:sp modelId="{1E8500E7-C8ED-46A7-9084-8BA87674E929}">
      <dsp:nvSpPr>
        <dsp:cNvPr id="0" name=""/>
        <dsp:cNvSpPr/>
      </dsp:nvSpPr>
      <dsp:spPr>
        <a:xfrm rot="5400000">
          <a:off x="2326625" y="2395638"/>
          <a:ext cx="473989" cy="539620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C4DD8EB-D09D-4782-8D2E-E623F0B38E3F}">
      <dsp:nvSpPr>
        <dsp:cNvPr id="0" name=""/>
        <dsp:cNvSpPr/>
      </dsp:nvSpPr>
      <dsp:spPr>
        <a:xfrm>
          <a:off x="1445322" y="1755912"/>
          <a:ext cx="1659608" cy="558517"/>
        </a:xfrm>
        <a:prstGeom prst="roundRect">
          <a:avLst>
            <a:gd name="adj" fmla="val 166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Replacement Rates</a:t>
          </a:r>
        </a:p>
      </dsp:txBody>
      <dsp:txXfrm>
        <a:off x="1472591" y="1783181"/>
        <a:ext cx="1605070" cy="503979"/>
      </dsp:txXfrm>
    </dsp:sp>
    <dsp:sp modelId="{A2B885B5-11F6-4425-9AFD-856F18A72D02}">
      <dsp:nvSpPr>
        <dsp:cNvPr id="0" name=""/>
        <dsp:cNvSpPr/>
      </dsp:nvSpPr>
      <dsp:spPr>
        <a:xfrm>
          <a:off x="3098452" y="1801447"/>
          <a:ext cx="4423748" cy="45141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/>
            <a:t>Combustor P/N 123 </a:t>
          </a:r>
          <a:r>
            <a:rPr lang="en-US" sz="1400" b="1" kern="1200" dirty="0"/>
            <a:t>New</a:t>
          </a:r>
          <a:r>
            <a:rPr lang="en-US" sz="1400" kern="1200" dirty="0"/>
            <a:t> replacement rate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/>
            <a:t>Combustor P/N 123 </a:t>
          </a:r>
          <a:r>
            <a:rPr lang="en-US" sz="1400" b="1" kern="1200" dirty="0"/>
            <a:t>Exchange</a:t>
          </a:r>
          <a:r>
            <a:rPr lang="en-US" sz="1400" kern="1200" dirty="0"/>
            <a:t> replacement rate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/>
            <a:t>Rework new details needed for exchange combustor</a:t>
          </a:r>
        </a:p>
      </dsp:txBody>
      <dsp:txXfrm>
        <a:off x="3098452" y="1801447"/>
        <a:ext cx="4423748" cy="451418"/>
      </dsp:txXfrm>
    </dsp:sp>
    <dsp:sp modelId="{EEE7F7F1-6A68-4BE3-9458-C17A25EFA314}">
      <dsp:nvSpPr>
        <dsp:cNvPr id="0" name=""/>
        <dsp:cNvSpPr/>
      </dsp:nvSpPr>
      <dsp:spPr>
        <a:xfrm>
          <a:off x="3014615" y="2569019"/>
          <a:ext cx="797919" cy="558517"/>
        </a:xfrm>
        <a:prstGeom prst="roundRect">
          <a:avLst>
            <a:gd name="adj" fmla="val 166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On order</a:t>
          </a:r>
        </a:p>
      </dsp:txBody>
      <dsp:txXfrm>
        <a:off x="3041884" y="2596288"/>
        <a:ext cx="743381" cy="503979"/>
      </dsp:txXfrm>
    </dsp:sp>
    <dsp:sp modelId="{09A58B84-5B69-4B42-84DF-B2F38E51396F}">
      <dsp:nvSpPr>
        <dsp:cNvPr id="0" name=""/>
        <dsp:cNvSpPr/>
      </dsp:nvSpPr>
      <dsp:spPr>
        <a:xfrm>
          <a:off x="3871820" y="2635411"/>
          <a:ext cx="2865009" cy="45141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/>
            <a:t>On order aligned to events 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/>
            <a:t>Increase / Decrease on order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/>
            <a:t>Supplier or Internal Honeywell</a:t>
          </a:r>
        </a:p>
      </dsp:txBody>
      <dsp:txXfrm>
        <a:off x="3871820" y="2635411"/>
        <a:ext cx="2865009" cy="45141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StepDownProcess">
  <dgm:title val=""/>
  <dgm:desc val=""/>
  <dgm:catLst>
    <dgm:cat type="process" pri="16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60" srcId="0" destId="10" srcOrd="0" destOrd="0"/>
        <dgm:cxn modelId="12" srcId="10" destId="11" srcOrd="0" destOrd="0"/>
        <dgm:cxn modelId="70" srcId="0" destId="20" srcOrd="1" destOrd="0"/>
        <dgm:cxn modelId="22" srcId="20" destId="21" srcOrd="0" destOrd="0"/>
        <dgm:cxn modelId="8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grDir" val="tL"/>
          <dgm:param type="flowDir" val="row"/>
          <dgm:param type="off" val="off"/>
          <dgm:param type="bkpt" val="fixed"/>
          <dgm:param type="bkPtFixedVal" val="1"/>
        </dgm:alg>
      </dgm:if>
      <dgm:else name="Name2">
        <dgm:alg type="snake">
          <dgm:param type="grDir" val="tR"/>
          <dgm:param type="flowDir" val="row"/>
          <dgm:param type="off" val="off"/>
          <dgm:param type="bkpt" val="fixed"/>
          <dgm:param type="bkPtFixedVal" val="1"/>
        </dgm:alg>
      </dgm:else>
    </dgm:choose>
    <dgm:shape xmlns:r="http://schemas.openxmlformats.org/officeDocument/2006/relationships" r:blip="">
      <dgm:adjLst/>
    </dgm:shape>
    <dgm:choose name="Name3">
      <dgm:if name="Name4" func="var" arg="dir" op="equ" val="norm">
        <dgm:constrLst>
          <dgm:constr type="alignOff" forName="rootnode" val="0.48"/>
          <dgm:constr type="primFontSz" for="des" forName="ParentText" val="65"/>
          <dgm:constr type="primFontSz" for="des" forName="ChildText" refType="primFontSz" refFor="des" refForName="ParentText" op="lte"/>
          <dgm:constr type="w" for="ch" forName="composite" refType="w"/>
          <dgm:constr type="h" for="ch" forName="composite" refType="h"/>
          <dgm:constr type="sp" refType="h" refFor="ch" refForName="composite" op="equ" fact="-0.38"/>
        </dgm:constrLst>
      </dgm:if>
      <dgm:else name="Name5">
        <dgm:constrLst>
          <dgm:constr type="alignOff" forName="rootnode" val="0.48"/>
          <dgm:constr type="primFontSz" for="des" forName="ParentText" val="65"/>
          <dgm:constr type="primFontSz" for="des" forName="ChildText" refType="primFontSz" refFor="des" refForName="ParentText" op="lte"/>
          <dgm:constr type="w" for="ch" forName="composite" refType="w"/>
          <dgm:constr type="h" for="ch" forName="composite" refType="h"/>
          <dgm:constr type="sp" refType="h" refFor="ch" refForName="composite" op="equ" fact="-0.38"/>
        </dgm:constrLst>
      </dgm:else>
    </dgm:choose>
    <dgm:forEach name="nodesForEach" axis="ch" ptType="node">
      <dgm:layoutNode name="composite">
        <dgm:alg type="composite">
          <dgm:param type="ar" val="1.2439"/>
        </dgm:alg>
        <dgm:shape xmlns:r="http://schemas.openxmlformats.org/officeDocument/2006/relationships" r:blip="">
          <dgm:adjLst/>
        </dgm:shape>
        <dgm:choose name="Name6">
          <dgm:if name="Name7" func="var" arg="dir" op="equ" val="norm">
            <dgm:constrLst>
              <dgm:constr type="l" for="ch" forName="bentUpArrow1" refType="w" fact="0.07"/>
              <dgm:constr type="t" for="ch" forName="bentUpArrow1" refType="h" fact="0.524"/>
              <dgm:constr type="w" for="ch" forName="bentUpArrow1" refType="w" fact="0.3844"/>
              <dgm:constr type="h" for="ch" forName="bentUpArrow1" refType="h" fact="0.42"/>
              <dgm:constr type="l" for="ch" forName="ParentText" refType="w" fact="0"/>
              <dgm:constr type="t" for="ch" forName="ParentText" refType="h" fact="0"/>
              <dgm:constr type="w" for="ch" forName="ParentText" refType="w" fact="0.5684"/>
              <dgm:constr type="h" for="ch" forName="ParentText" refType="h" fact="0.4949"/>
              <dgm:constr type="l" for="ch" forName="ChildText" refType="w" refFor="ch" refForName="ParentText"/>
              <dgm:constr type="t" for="ch" forName="ChildText" refType="h" fact="0.05"/>
              <dgm:constr type="w" for="ch" forName="ChildText" refType="w" fact="0.4134"/>
              <dgm:constr type="h" for="ch" forName="ChildText" refType="h" fact="0.4"/>
              <dgm:constr type="l" for="ch" forName="FinalChildText" refType="w" refFor="ch" refForName="ParentText"/>
              <dgm:constr type="t" for="ch" forName="FinalChildText" refType="h" fact="0.05"/>
              <dgm:constr type="w" for="ch" forName="FinalChildText" refType="w" fact="0.4134"/>
              <dgm:constr type="h" for="ch" forName="FinalChildText" refType="h" fact="0.4"/>
            </dgm:constrLst>
          </dgm:if>
          <dgm:else name="Name8">
            <dgm:constrLst>
              <dgm:constr type="r" for="ch" forName="bentUpArrow1" refType="w" fact="0.97"/>
              <dgm:constr type="t" for="ch" forName="bentUpArrow1" refType="h" fact="0.524"/>
              <dgm:constr type="w" for="ch" forName="bentUpArrow1" refType="w" fact="0.3844"/>
              <dgm:constr type="h" for="ch" forName="bentUpArrow1" refType="h" fact="0.42"/>
              <dgm:constr type="l" for="ch" forName="ParentText" refType="w" fact="0.4316"/>
              <dgm:constr type="t" for="ch" forName="ParentText" refType="h" fact="0"/>
              <dgm:constr type="w" for="ch" forName="ParentText" refType="w" fact="0.5684"/>
              <dgm:constr type="h" for="ch" forName="ParentText" refType="h" fact="0.4949"/>
              <dgm:constr type="l" for="ch" forName="ChildText" refType="w" fact="0"/>
              <dgm:constr type="t" for="ch" forName="ChildText" refType="h" fact="0.05"/>
              <dgm:constr type="w" for="ch" forName="ChildText" refType="w" fact="0.4134"/>
              <dgm:constr type="h" for="ch" forName="ChildText" refType="h" fact="0.4"/>
              <dgm:constr type="l" for="ch" forName="FinalChildText" refType="w" fact="0"/>
              <dgm:constr type="t" for="ch" forName="FinalChildText" refType="h" fact="0.05"/>
              <dgm:constr type="w" for="ch" forName="FinalChildText" refType="w" fact="0.4134"/>
              <dgm:constr type="h" for="ch" forName="FinalChildText" refType="h" fact="0.4"/>
            </dgm:constrLst>
          </dgm:else>
        </dgm:choose>
        <dgm:choose name="Name9">
          <dgm:if name="Name10" axis="followSib" ptType="node" func="cnt" op="gte" val="1">
            <dgm:layoutNode name="bentUpArrow1" styleLbl="alignImgPlace1">
              <dgm:alg type="sp"/>
              <dgm:choose name="Name11">
                <dgm:if name="Name12" func="var" arg="dir" op="equ" val="norm">
                  <dgm:shape xmlns:r="http://schemas.openxmlformats.org/officeDocument/2006/relationships" rot="90" type="bentUpArrow" r:blip="">
                    <dgm:adjLst>
                      <dgm:adj idx="1" val="0.3284"/>
                      <dgm:adj idx="2" val="0.25"/>
                      <dgm:adj idx="3" val="0.3578"/>
                    </dgm:adjLst>
                  </dgm:shape>
                </dgm:if>
                <dgm:else name="Name13">
                  <dgm:shape xmlns:r="http://schemas.openxmlformats.org/officeDocument/2006/relationships" rot="180" type="bentArrow" r:blip="">
                    <dgm:adjLst>
                      <dgm:adj idx="1" val="0.3284"/>
                      <dgm:adj idx="2" val="0.25"/>
                      <dgm:adj idx="3" val="0.3578"/>
                      <dgm:adj idx="4" val="0"/>
                    </dgm:adjLst>
                  </dgm:shape>
                </dgm:else>
              </dgm:choose>
              <dgm:presOf/>
            </dgm:layoutNode>
          </dgm:if>
          <dgm:else name="Name14"/>
        </dgm:choose>
        <dgm:layoutNode name="ParentText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66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15">
          <dgm:if name="Name16" axis="followSib" ptType="node" func="cnt" op="equ" val="0">
            <dgm:choose name="Name17">
              <dgm:if name="Name18" axis="ch" ptType="node" func="cnt" op="gte" val="1">
                <dgm:layoutNode name="FinalChildText" styleLbl="revTx">
                  <dgm:varLst>
                    <dgm:chMax val="0"/>
                    <dgm:chPref val="0"/>
                    <dgm:bulletEnabled val="1"/>
                  </dgm:varLst>
                  <dgm:alg type="tx">
                    <dgm:param type="stBulletLvl" val="1"/>
                    <dgm:param type="txAnchorVertCh" val="mid"/>
                    <dgm:param type="parTxLTRAlign" val="l"/>
                  </dgm:alg>
                  <dgm:shape xmlns:r="http://schemas.openxmlformats.org/officeDocument/2006/relationships" type="rect" r:blip="">
                    <dgm:adjLst/>
                  </dgm:shape>
                  <dgm:presOf axis="des" ptType="node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9"/>
            </dgm:choose>
          </dgm:if>
          <dgm:else name="Name20">
            <dgm:layoutNode name="ChildText" styleLbl="revTx">
              <dgm:varLst>
                <dgm:chMax val="0"/>
                <dgm:chPref val="0"/>
                <dgm:bulletEnabled val="1"/>
              </dgm:varLst>
              <dgm:alg type="tx">
                <dgm:param type="stBulletLvl" val="1"/>
                <dgm:param type="txAnchorVertCh" val="mid"/>
                <dgm:param type="parTxLTRAlign" val="l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else>
        </dgm:choos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3598721-3323-42CB-96FB-C6D7D9D2061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1727"/>
          </a:xfrm>
          <a:prstGeom prst="rect">
            <a:avLst/>
          </a:prstGeom>
        </p:spPr>
        <p:txBody>
          <a:bodyPr vert="horz" lIns="96653" tIns="48326" rIns="96653" bIns="48326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12FF977-0234-4542-94AE-376F45A8E77C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143587" y="0"/>
            <a:ext cx="3169920" cy="481727"/>
          </a:xfrm>
          <a:prstGeom prst="rect">
            <a:avLst/>
          </a:prstGeom>
        </p:spPr>
        <p:txBody>
          <a:bodyPr vert="horz" lIns="96653" tIns="48326" rIns="96653" bIns="48326" rtlCol="0"/>
          <a:lstStyle>
            <a:lvl1pPr algn="r">
              <a:defRPr sz="1300"/>
            </a:lvl1pPr>
          </a:lstStyle>
          <a:p>
            <a:fld id="{7726CFF9-B101-4D5A-AE5F-81BC4D91C170}" type="datetimeFigureOut">
              <a:rPr lang="en-US" smtClean="0"/>
              <a:t>4/14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2DC7A7-567A-4A18-A303-6ED5E91C673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119474"/>
            <a:ext cx="3169920" cy="481726"/>
          </a:xfrm>
          <a:prstGeom prst="rect">
            <a:avLst/>
          </a:prstGeom>
        </p:spPr>
        <p:txBody>
          <a:bodyPr vert="horz" lIns="96653" tIns="48326" rIns="96653" bIns="48326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DC55533-4890-43A5-8A14-C9DE3F25618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143587" y="9119474"/>
            <a:ext cx="3169920" cy="481726"/>
          </a:xfrm>
          <a:prstGeom prst="rect">
            <a:avLst/>
          </a:prstGeom>
        </p:spPr>
        <p:txBody>
          <a:bodyPr vert="horz" lIns="96653" tIns="48326" rIns="96653" bIns="48326" rtlCol="0" anchor="b"/>
          <a:lstStyle>
            <a:lvl1pPr algn="r">
              <a:defRPr sz="1300"/>
            </a:lvl1pPr>
          </a:lstStyle>
          <a:p>
            <a:fld id="{A1C57C73-0239-4725-8F06-3E607150BC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89576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1727"/>
          </a:xfrm>
          <a:prstGeom prst="rect">
            <a:avLst/>
          </a:prstGeom>
        </p:spPr>
        <p:txBody>
          <a:bodyPr vert="horz" lIns="96653" tIns="48326" rIns="96653" bIns="48326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7" y="0"/>
            <a:ext cx="3169920" cy="481727"/>
          </a:xfrm>
          <a:prstGeom prst="rect">
            <a:avLst/>
          </a:prstGeom>
        </p:spPr>
        <p:txBody>
          <a:bodyPr vert="horz" lIns="96653" tIns="48326" rIns="96653" bIns="48326" rtlCol="0"/>
          <a:lstStyle>
            <a:lvl1pPr algn="r">
              <a:defRPr sz="1300"/>
            </a:lvl1pPr>
          </a:lstStyle>
          <a:p>
            <a:fld id="{770AA0C4-695F-4136-A1C4-C28E233376CC}" type="datetimeFigureOut">
              <a:rPr lang="en-US" smtClean="0"/>
              <a:t>4/1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77875" y="1200150"/>
            <a:ext cx="5759450" cy="32400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53" tIns="48326" rIns="96653" bIns="48326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620577"/>
            <a:ext cx="5852160" cy="3780473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4"/>
            <a:ext cx="3169920" cy="481726"/>
          </a:xfrm>
          <a:prstGeom prst="rect">
            <a:avLst/>
          </a:prstGeom>
        </p:spPr>
        <p:txBody>
          <a:bodyPr vert="horz" lIns="96653" tIns="48326" rIns="96653" bIns="48326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7" y="9119474"/>
            <a:ext cx="3169920" cy="481726"/>
          </a:xfrm>
          <a:prstGeom prst="rect">
            <a:avLst/>
          </a:prstGeom>
        </p:spPr>
        <p:txBody>
          <a:bodyPr vert="horz" lIns="96653" tIns="48326" rIns="96653" bIns="48326" rtlCol="0" anchor="b"/>
          <a:lstStyle>
            <a:lvl1pPr algn="r">
              <a:defRPr sz="1300"/>
            </a:lvl1pPr>
          </a:lstStyle>
          <a:p>
            <a:fld id="{ED70284F-7E88-4545-9BB2-221688BE3F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5178273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spcAft>
        <a:spcPts val="600"/>
      </a:spcAft>
      <a:defRPr sz="1200" b="1" kern="1200">
        <a:solidFill>
          <a:schemeClr val="tx1"/>
        </a:solidFill>
        <a:latin typeface="+mn-lt"/>
        <a:ea typeface="+mn-ea"/>
        <a:cs typeface="+mn-cs"/>
      </a:defRPr>
    </a:lvl1pPr>
    <a:lvl2pPr marL="0" indent="0" algn="l" defTabSz="914400" rtl="0" eaLnBrk="1" latinLnBrk="0" hangingPunct="1">
      <a:spcAft>
        <a:spcPts val="60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171450" indent="-17145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400050" indent="-171450" algn="l" defTabSz="914400" rtl="0" eaLnBrk="1" latinLnBrk="0" hangingPunct="1">
      <a:spcAft>
        <a:spcPts val="600"/>
      </a:spcAft>
      <a:buFont typeface="Arial" panose="020B0604020202020204" pitchFamily="34" charset="0"/>
      <a:buChar char="‒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630238" indent="-17145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70284F-7E88-4545-9BB2-221688BE3F3A}" type="slidenum">
              <a:rPr lang="en-US" smtClean="0"/>
              <a:t>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00879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sv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sv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sv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9.sv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4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3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8.sv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2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8.sv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2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8.svg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2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.bin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1.sv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+ Pic Ligh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C9632D-2F70-4D0E-B737-ACF4A2DDEB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300" y="1409700"/>
            <a:ext cx="8382000" cy="2019300"/>
          </a:xfrm>
        </p:spPr>
        <p:txBody>
          <a:bodyPr tIns="0" anchor="t"/>
          <a:lstStyle>
            <a:lvl1pPr algn="l">
              <a:lnSpc>
                <a:spcPct val="80000"/>
              </a:lnSpc>
              <a:defRPr sz="44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7C3F44-5413-48F1-ACBF-6BEAE9CA8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5300" y="3848100"/>
            <a:ext cx="5600700" cy="892017"/>
          </a:xfrm>
        </p:spPr>
        <p:txBody>
          <a:bodyPr tIns="0" bIns="182880" anchor="t" anchorCtr="0"/>
          <a:lstStyle>
            <a:lvl1pPr marL="0" indent="0" algn="l">
              <a:spcAft>
                <a:spcPts val="0"/>
              </a:spcAft>
              <a:buNone/>
              <a:defRPr sz="1600" b="0" cap="all" baseline="0">
                <a:latin typeface="+mj-lt"/>
              </a:defRPr>
            </a:lvl1pPr>
            <a:lvl2pPr marL="0" indent="0" algn="l">
              <a:spcAft>
                <a:spcPts val="1200"/>
              </a:spcAft>
              <a:buNone/>
              <a:defRPr sz="1600" b="1" cap="all" baseline="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’s Name</a:t>
            </a:r>
          </a:p>
          <a:p>
            <a:pPr lvl="1"/>
            <a:r>
              <a:rPr lang="en-US"/>
              <a:t>Presenter’s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C79F04-7833-4562-B8D1-AC0341D757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300" y="499811"/>
            <a:ext cx="2743200" cy="365125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600" b="1">
                <a:latin typeface="+mn-lt"/>
              </a:defRPr>
            </a:lvl1pPr>
          </a:lstStyle>
          <a:p>
            <a:fld id="{D105F950-05EE-42A4-8FEF-DE33869804CE}" type="datetime4">
              <a:rPr lang="en-US" smtClean="0"/>
              <a:t>April 14, 2025</a:t>
            </a:fld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07D801B6-A973-4D6D-8431-BA0D1481B3C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98212" y="6008332"/>
            <a:ext cx="24446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0308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 userDrawn="1">
          <p15:clr>
            <a:srgbClr val="FBAE40"/>
          </p15:clr>
        </p15:guide>
        <p15:guide id="2" orient="horz" pos="3216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4457700"/>
          </a:xfrm>
        </p:spPr>
        <p:txBody>
          <a:bodyPr/>
          <a:lstStyle>
            <a:lvl1pPr marL="457200" indent="-457200">
              <a:spcBef>
                <a:spcPts val="600"/>
              </a:spcBef>
              <a:buClr>
                <a:schemeClr val="accent1"/>
              </a:buClr>
              <a:buFont typeface="+mj-lt"/>
              <a:buAutoNum type="arabicPeriod"/>
              <a:defRPr sz="2400"/>
            </a:lvl1pPr>
            <a:lvl2pPr marL="457200" indent="0">
              <a:defRPr sz="2400"/>
            </a:lvl2pPr>
            <a:lvl3pPr marL="685800" indent="-228600">
              <a:defRPr sz="2000"/>
            </a:lvl3pPr>
            <a:lvl4pPr marL="1028700" indent="-228600">
              <a:defRPr sz="1800"/>
            </a:lvl4pPr>
            <a:lvl5pPr>
              <a:defRPr sz="2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, Arial Bold 10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409701"/>
            <a:ext cx="5372100" cy="4457700"/>
          </a:xfrm>
        </p:spPr>
        <p:txBody>
          <a:bodyPr/>
          <a:lstStyle>
            <a:lvl1pPr marL="457200" indent="-457200">
              <a:spcBef>
                <a:spcPts val="600"/>
              </a:spcBef>
              <a:buClr>
                <a:schemeClr val="accent1"/>
              </a:buClr>
              <a:buFont typeface="+mj-lt"/>
              <a:buAutoNum type="arabicPeriod"/>
              <a:defRPr sz="2400"/>
            </a:lvl1pPr>
            <a:lvl2pPr marL="457200" indent="0">
              <a:defRPr sz="2400"/>
            </a:lvl2pPr>
            <a:lvl3pPr marL="685800" indent="-228600">
              <a:defRPr sz="2000"/>
            </a:lvl3pPr>
            <a:lvl4pPr marL="1028700" indent="-228600">
              <a:defRPr sz="1800"/>
            </a:lvl4pPr>
            <a:lvl5pPr>
              <a:defRPr sz="2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147562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XL Content Gray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300"/>
            <a:ext cx="8382001" cy="5372100"/>
          </a:xfrm>
        </p:spPr>
        <p:txBody>
          <a:bodyPr tIns="0"/>
          <a:lstStyle>
            <a:lvl1pPr>
              <a:lnSpc>
                <a:spcPct val="80000"/>
              </a:lnSpc>
              <a:defRPr sz="88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Footer, Arial Bold 10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Rectangle 23">
            <a:extLst>
              <a:ext uri="{FF2B5EF4-FFF2-40B4-BE49-F238E27FC236}">
                <a16:creationId xmlns:a16="http://schemas.microsoft.com/office/drawing/2014/main" id="{4A2922BA-AA7B-49A4-BAC5-FF5A045498C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594837" y="6478016"/>
            <a:ext cx="4118435" cy="2154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80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Honeywell Confidential - ©2019 by Honeywell International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7126323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5592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Cont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300"/>
            <a:ext cx="5372101" cy="537210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99F7BE-26E0-43EC-B648-2436C3A3F9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0" y="0"/>
            <a:ext cx="5867400" cy="6858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/>
              <a:t>Footer, Arial Bold 10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98290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96" userDrawn="1">
          <p15:clr>
            <a:srgbClr val="FBAE40"/>
          </p15:clr>
        </p15:guide>
        <p15:guide id="2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Content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300"/>
            <a:ext cx="5372101" cy="5372100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99F7BE-26E0-43EC-B648-2436C3A3F9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0" y="0"/>
            <a:ext cx="5867400" cy="6858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Footer, Arial Bold 10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7526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96">
          <p15:clr>
            <a:srgbClr val="FBAE40"/>
          </p15:clr>
        </p15:guide>
        <p15:guide id="2" pos="3984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, Arial Bold 10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50F7696B-AED7-4649-B1BE-83104AF7ADDD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347401461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, Arial Bold 10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409701"/>
            <a:ext cx="5372100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4D0DF29E-4A6C-4505-AA49-6B64388E1397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41151049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96" userDrawn="1">
          <p15:clr>
            <a:srgbClr val="FBAE40"/>
          </p15:clr>
        </p15:guide>
        <p15:guide id="3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+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445769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, Arial Bold 10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F9CDEF-0719-484F-8C20-787B9E5CF79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0" y="1409700"/>
            <a:ext cx="5372100" cy="44577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4064076E-2966-4D1B-8F30-6885CA148AF4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8330642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+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, Arial Bold 10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39F757B-7399-47EF-8C93-6F4A6410845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95300" y="3886200"/>
            <a:ext cx="5372100" cy="198119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9B1BC2-D1BF-4967-9DEB-0E2180966050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322327" y="3886200"/>
            <a:ext cx="5372100" cy="198119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7B930328-96E9-4581-AB46-BC006A6DBD5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5300" y="1409700"/>
            <a:ext cx="53721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A25C2411-148E-4C87-B0DD-41761ACB22C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24600" y="1409700"/>
            <a:ext cx="53721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55B90B35-A8E2-43F4-9EE2-F7A3C794C84F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-1" y="5867400"/>
            <a:ext cx="12192000" cy="495300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8468215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  <p15:guide id="4" orient="horz" pos="2448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3429000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, Arial Bold 10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81534" y="1409701"/>
            <a:ext cx="3429000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67768" y="1409701"/>
            <a:ext cx="3429000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89AC965-3DBE-47AE-81C0-8C23B370263F}"/>
              </a:ext>
            </a:extLst>
          </p:cNvPr>
          <p:cNvCxnSpPr/>
          <p:nvPr userDrawn="1"/>
        </p:nvCxnSpPr>
        <p:spPr>
          <a:xfrm>
            <a:off x="4152917" y="1410880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55B345D-6ECD-4B25-B741-D306ED291B90}"/>
              </a:ext>
            </a:extLst>
          </p:cNvPr>
          <p:cNvCxnSpPr/>
          <p:nvPr userDrawn="1"/>
        </p:nvCxnSpPr>
        <p:spPr>
          <a:xfrm>
            <a:off x="8039151" y="1410881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C697456D-818A-4FA7-9322-10ECC2C05752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73154"/>
            <a:ext cx="12192000" cy="489546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17282608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+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3886200"/>
            <a:ext cx="3429000" cy="19812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, Arial Bold 10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81534" y="3886200"/>
            <a:ext cx="3429000" cy="19812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67768" y="3886200"/>
            <a:ext cx="3429000" cy="19812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DE1C42F-82A3-49D7-9B58-607C4E4D581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95300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622D68AC-932E-4B0C-90A5-71EE23ACE46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81534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D1A7CD19-76F6-4CBE-B54D-93302EA79B1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267700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4CAE0181-37B5-43E5-A82A-CDD053C29C6C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14067114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4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+ Pic Dar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C9632D-2F70-4D0E-B737-ACF4A2DDEB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300" y="1409700"/>
            <a:ext cx="8382000" cy="2019300"/>
          </a:xfrm>
        </p:spPr>
        <p:txBody>
          <a:bodyPr tIns="0" anchor="t"/>
          <a:lstStyle>
            <a:lvl1pPr algn="l">
              <a:lnSpc>
                <a:spcPct val="80000"/>
              </a:lnSpc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7C3F44-5413-48F1-ACBF-6BEAE9CA8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5300" y="3848100"/>
            <a:ext cx="5600700" cy="892017"/>
          </a:xfrm>
        </p:spPr>
        <p:txBody>
          <a:bodyPr tIns="0" bIns="182880" anchor="t" anchorCtr="0"/>
          <a:lstStyle>
            <a:lvl1pPr marL="0" indent="0" algn="l">
              <a:spcAft>
                <a:spcPts val="0"/>
              </a:spcAft>
              <a:buNone/>
              <a:defRPr sz="1600" b="0" cap="all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spcAft>
                <a:spcPts val="1200"/>
              </a:spcAft>
              <a:buNone/>
              <a:defRPr sz="1600" b="1" cap="all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’s Name</a:t>
            </a:r>
          </a:p>
          <a:p>
            <a:pPr lvl="1"/>
            <a:r>
              <a:rPr lang="en-US"/>
              <a:t>Presenter’s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C79F04-7833-4562-B8D1-AC0341D757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300" y="498668"/>
            <a:ext cx="2743200" cy="365125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600" b="1">
                <a:solidFill>
                  <a:schemeClr val="bg1"/>
                </a:solidFill>
                <a:latin typeface="+mn-lt"/>
              </a:defRPr>
            </a:lvl1pPr>
          </a:lstStyle>
          <a:p>
            <a:fld id="{27A3D956-E391-41FE-BC3D-8A5C91DE06B1}" type="datetime4">
              <a:rPr lang="en-US" smtClean="0"/>
              <a:t>April 14, 2025</a:t>
            </a:fld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07D801B6-A973-4D6D-8431-BA0D1481B3C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98212" y="6008332"/>
            <a:ext cx="24446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2543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  <p15:guide id="2" orient="horz" pos="3216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2459736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, Arial Bold 10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409238" y="1409701"/>
            <a:ext cx="2459736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23176" y="1409701"/>
            <a:ext cx="2459736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C3999C7-E763-4050-BC0E-E9090F84780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237112" y="1409701"/>
            <a:ext cx="2459736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538375F-017C-4D3C-98B0-0B49D2AAE3BA}"/>
              </a:ext>
            </a:extLst>
          </p:cNvPr>
          <p:cNvCxnSpPr/>
          <p:nvPr userDrawn="1"/>
        </p:nvCxnSpPr>
        <p:spPr>
          <a:xfrm>
            <a:off x="3182137" y="1410880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B52EB66-0BC5-4D65-9873-7791F0C2A2E0}"/>
              </a:ext>
            </a:extLst>
          </p:cNvPr>
          <p:cNvCxnSpPr/>
          <p:nvPr userDrawn="1"/>
        </p:nvCxnSpPr>
        <p:spPr>
          <a:xfrm>
            <a:off x="6096075" y="1410880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3A66CFF-0E1D-4769-AC5A-FFCF982704C6}"/>
              </a:ext>
            </a:extLst>
          </p:cNvPr>
          <p:cNvCxnSpPr/>
          <p:nvPr userDrawn="1"/>
        </p:nvCxnSpPr>
        <p:spPr>
          <a:xfrm>
            <a:off x="9010013" y="1410880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E90AB464-576C-4A33-966B-DD17FE4C4181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31740245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+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3657600"/>
            <a:ext cx="2459736" cy="2209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, Arial Bold 10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409237" y="3657600"/>
            <a:ext cx="2459736" cy="2209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23174" y="3657600"/>
            <a:ext cx="2459736" cy="2209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C3999C7-E763-4050-BC0E-E9090F84780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237112" y="3657600"/>
            <a:ext cx="2459736" cy="2209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632F1BF-A417-46F5-A2B0-EE338C9464D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5300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B664EC32-C8D7-4696-8955-D27860B1160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409935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7BC96BB2-8963-4074-99F2-2BEB65D70F6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323872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3FAAAD28-DA69-4AAE-9FAD-9F27417572F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237112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230F8805-7C7A-42C7-AA78-A838FC7ADE60}"/>
              </a:ext>
            </a:extLst>
          </p:cNvPr>
          <p:cNvSpPr>
            <a:spLocks noGrp="1" noChangeAspect="1"/>
          </p:cNvSpPr>
          <p:nvPr>
            <p:ph type="body" sz="quarter" idx="20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28805256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11006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, Arial Bold 10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411006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39F757B-7399-47EF-8C93-6F4A6410845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95300" y="3844171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9B1BC2-D1BF-4967-9DEB-0E2180966050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324600" y="3844171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DFA7B3DE-C704-4D6A-9148-C2EE51AB9559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4996"/>
            <a:ext cx="12192000" cy="497704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1893254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teen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95300" y="1412104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, Arial Bold 10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324600" y="1412104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39F757B-7399-47EF-8C93-6F4A6410845A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95300" y="5080223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9B1BC2-D1BF-4967-9DEB-0E2180966050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322327" y="5080223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F7EE7B8-7423-490B-A1BE-0DDF87E6EC61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Key Takeaway Text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3266E99-6D42-417C-A216-84A2B3B715ED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407664" y="1412104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054589B4-7F05-4C7A-A2EE-48FB0A13E0D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9236964" y="1412104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F2E9B699-079A-4F7A-A636-380F36093446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407664" y="5080223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7401885D-5D62-448F-BC24-63F385C48568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236964" y="5080223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7257D68F-E97D-4F92-A3D3-D1503CB5DE64}"/>
              </a:ext>
            </a:extLst>
          </p:cNvPr>
          <p:cNvSpPr>
            <a:spLocks noGrp="1"/>
          </p:cNvSpPr>
          <p:nvPr>
            <p:ph type="chart" sz="quarter" idx="21"/>
          </p:nvPr>
        </p:nvSpPr>
        <p:spPr>
          <a:xfrm>
            <a:off x="495299" y="2634810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17" name="Chart Placeholder 6">
            <a:extLst>
              <a:ext uri="{FF2B5EF4-FFF2-40B4-BE49-F238E27FC236}">
                <a16:creationId xmlns:a16="http://schemas.microsoft.com/office/drawing/2014/main" id="{3B3B5C6B-85C1-4026-8D2C-B5C2CE44A5D5}"/>
              </a:ext>
            </a:extLst>
          </p:cNvPr>
          <p:cNvSpPr>
            <a:spLocks noGrp="1"/>
          </p:cNvSpPr>
          <p:nvPr>
            <p:ph type="chart" sz="quarter" idx="22"/>
          </p:nvPr>
        </p:nvSpPr>
        <p:spPr>
          <a:xfrm>
            <a:off x="3409341" y="2634810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18" name="Chart Placeholder 6">
            <a:extLst>
              <a:ext uri="{FF2B5EF4-FFF2-40B4-BE49-F238E27FC236}">
                <a16:creationId xmlns:a16="http://schemas.microsoft.com/office/drawing/2014/main" id="{9950548D-185E-4E8F-ACC1-7147F8753B87}"/>
              </a:ext>
            </a:extLst>
          </p:cNvPr>
          <p:cNvSpPr>
            <a:spLocks noGrp="1"/>
          </p:cNvSpPr>
          <p:nvPr>
            <p:ph type="chart" sz="quarter" idx="23"/>
          </p:nvPr>
        </p:nvSpPr>
        <p:spPr>
          <a:xfrm>
            <a:off x="6323383" y="2634810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19" name="Chart Placeholder 6">
            <a:extLst>
              <a:ext uri="{FF2B5EF4-FFF2-40B4-BE49-F238E27FC236}">
                <a16:creationId xmlns:a16="http://schemas.microsoft.com/office/drawing/2014/main" id="{E621986D-B207-419E-8DB3-B0A4BB23DA35}"/>
              </a:ext>
            </a:extLst>
          </p:cNvPr>
          <p:cNvSpPr>
            <a:spLocks noGrp="1"/>
          </p:cNvSpPr>
          <p:nvPr>
            <p:ph type="chart" sz="quarter" idx="24"/>
          </p:nvPr>
        </p:nvSpPr>
        <p:spPr>
          <a:xfrm>
            <a:off x="9237662" y="2634810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0" name="Chart Placeholder 6">
            <a:extLst>
              <a:ext uri="{FF2B5EF4-FFF2-40B4-BE49-F238E27FC236}">
                <a16:creationId xmlns:a16="http://schemas.microsoft.com/office/drawing/2014/main" id="{4F23C499-BF0D-4A23-948D-7CF2255178FF}"/>
              </a:ext>
            </a:extLst>
          </p:cNvPr>
          <p:cNvSpPr>
            <a:spLocks noGrp="1"/>
          </p:cNvSpPr>
          <p:nvPr>
            <p:ph type="chart" sz="quarter" idx="25"/>
          </p:nvPr>
        </p:nvSpPr>
        <p:spPr>
          <a:xfrm>
            <a:off x="495299" y="3857516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1" name="Chart Placeholder 6">
            <a:extLst>
              <a:ext uri="{FF2B5EF4-FFF2-40B4-BE49-F238E27FC236}">
                <a16:creationId xmlns:a16="http://schemas.microsoft.com/office/drawing/2014/main" id="{86A17512-7EDD-4F1A-A28C-60AEB3A2B060}"/>
              </a:ext>
            </a:extLst>
          </p:cNvPr>
          <p:cNvSpPr>
            <a:spLocks noGrp="1"/>
          </p:cNvSpPr>
          <p:nvPr>
            <p:ph type="chart" sz="quarter" idx="26"/>
          </p:nvPr>
        </p:nvSpPr>
        <p:spPr>
          <a:xfrm>
            <a:off x="3409341" y="3857516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2" name="Chart Placeholder 6">
            <a:extLst>
              <a:ext uri="{FF2B5EF4-FFF2-40B4-BE49-F238E27FC236}">
                <a16:creationId xmlns:a16="http://schemas.microsoft.com/office/drawing/2014/main" id="{565C587C-501C-4648-B14F-7472AC051890}"/>
              </a:ext>
            </a:extLst>
          </p:cNvPr>
          <p:cNvSpPr>
            <a:spLocks noGrp="1"/>
          </p:cNvSpPr>
          <p:nvPr>
            <p:ph type="chart" sz="quarter" idx="27"/>
          </p:nvPr>
        </p:nvSpPr>
        <p:spPr>
          <a:xfrm>
            <a:off x="6323383" y="3857516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3" name="Chart Placeholder 6">
            <a:extLst>
              <a:ext uri="{FF2B5EF4-FFF2-40B4-BE49-F238E27FC236}">
                <a16:creationId xmlns:a16="http://schemas.microsoft.com/office/drawing/2014/main" id="{1EA84FC4-84EB-4A41-846C-1EEBF8A54C82}"/>
              </a:ext>
            </a:extLst>
          </p:cNvPr>
          <p:cNvSpPr>
            <a:spLocks noGrp="1"/>
          </p:cNvSpPr>
          <p:nvPr>
            <p:ph type="chart" sz="quarter" idx="28"/>
          </p:nvPr>
        </p:nvSpPr>
        <p:spPr>
          <a:xfrm>
            <a:off x="9237662" y="3857516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</p:spTree>
    <p:extLst>
      <p:ext uri="{BB962C8B-B14F-4D97-AF65-F5344CB8AC3E}">
        <p14:creationId xmlns:p14="http://schemas.microsoft.com/office/powerpoint/2010/main" val="15859721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93538A-4A54-4A25-9BD2-E79855D6A5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827C14D-9EED-4F3B-9141-0F28829197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, Arial Bold 10p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D08997-B423-407B-B60D-8D5DFC3705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D64B098-3BC3-46B7-9278-55E699AD37C8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57819908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59AAC5D-D7D8-42DB-BA4B-6CDFC5FAF0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, Arial Bold 10p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C549D9-CB0B-4053-B4B8-18A9A6E347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895A6AF-DA14-4AA2-80B8-C7ACE12804ED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199064844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, Arial Bold 10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568948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, Arial Bold 10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409701"/>
            <a:ext cx="5372100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0863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+ Pic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445769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, Arial Bold 10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F9CDEF-0719-484F-8C20-787B9E5CF79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0" y="1409700"/>
            <a:ext cx="5372100" cy="44577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197345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+ Pics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, Arial Bold 10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39F757B-7399-47EF-8C93-6F4A6410845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95300" y="3886200"/>
            <a:ext cx="5372100" cy="198119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9B1BC2-D1BF-4967-9DEB-0E2180966050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322327" y="3886200"/>
            <a:ext cx="5372100" cy="198119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7B930328-96E9-4581-AB46-BC006A6DBD5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5300" y="1409700"/>
            <a:ext cx="53721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A25C2411-148E-4C87-B0DD-41761ACB22C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24600" y="1409700"/>
            <a:ext cx="53721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1254475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  <p15:guide id="4" orient="horz" pos="244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Colo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C9632D-2F70-4D0E-B737-ACF4A2DDEB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300" y="1409700"/>
            <a:ext cx="8382000" cy="2019300"/>
          </a:xfrm>
        </p:spPr>
        <p:txBody>
          <a:bodyPr tIns="0" anchor="t"/>
          <a:lstStyle>
            <a:lvl1pPr algn="l">
              <a:lnSpc>
                <a:spcPct val="80000"/>
              </a:lnSpc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7C3F44-5413-48F1-ACBF-6BEAE9CA8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5300" y="3848100"/>
            <a:ext cx="5600700" cy="892017"/>
          </a:xfrm>
        </p:spPr>
        <p:txBody>
          <a:bodyPr tIns="0" bIns="182880" anchor="t" anchorCtr="0"/>
          <a:lstStyle>
            <a:lvl1pPr marL="0" indent="0" algn="l">
              <a:spcAft>
                <a:spcPts val="0"/>
              </a:spcAft>
              <a:buNone/>
              <a:defRPr sz="1600" b="0" cap="all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spcAft>
                <a:spcPts val="1200"/>
              </a:spcAft>
              <a:buNone/>
              <a:defRPr sz="1600" b="1" cap="all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’s Name</a:t>
            </a:r>
          </a:p>
          <a:p>
            <a:pPr lvl="1"/>
            <a:r>
              <a:rPr lang="en-US"/>
              <a:t>Presenter’s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C79F04-7833-4562-B8D1-AC0341D757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300" y="498668"/>
            <a:ext cx="2743200" cy="365125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600" b="1">
                <a:solidFill>
                  <a:schemeClr val="bg1"/>
                </a:solidFill>
                <a:latin typeface="+mn-lt"/>
              </a:defRPr>
            </a:lvl1pPr>
          </a:lstStyle>
          <a:p>
            <a:fld id="{CABE2306-64B2-4E76-99C5-2A47454E6DC8}" type="datetime4">
              <a:rPr lang="en-US" smtClean="0"/>
              <a:t>April 14, 2025</a:t>
            </a:fld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07D801B6-A973-4D6D-8431-BA0D1481B3C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8212" y="6008332"/>
            <a:ext cx="24446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03452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  <p15:guide id="2" orient="horz" pos="3216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3429000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, Arial Bold 10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81534" y="1409701"/>
            <a:ext cx="3429000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67768" y="1409701"/>
            <a:ext cx="3429000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89AC965-3DBE-47AE-81C0-8C23B370263F}"/>
              </a:ext>
            </a:extLst>
          </p:cNvPr>
          <p:cNvCxnSpPr/>
          <p:nvPr userDrawn="1"/>
        </p:nvCxnSpPr>
        <p:spPr>
          <a:xfrm>
            <a:off x="4152917" y="1410880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55B345D-6ECD-4B25-B741-D306ED291B90}"/>
              </a:ext>
            </a:extLst>
          </p:cNvPr>
          <p:cNvCxnSpPr/>
          <p:nvPr userDrawn="1"/>
        </p:nvCxnSpPr>
        <p:spPr>
          <a:xfrm>
            <a:off x="8039151" y="1410881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360568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+ Pics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3886200"/>
            <a:ext cx="3429000" cy="19812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, Arial Bold 10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81534" y="3886200"/>
            <a:ext cx="3429000" cy="19812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67768" y="3886200"/>
            <a:ext cx="3429000" cy="19812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DE1C42F-82A3-49D7-9B58-607C4E4D581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95300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622D68AC-932E-4B0C-90A5-71EE23ACE46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81534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D1A7CD19-76F6-4CBE-B54D-93302EA79B1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267700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2698289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48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2459736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, Arial Bold 10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409238" y="1409701"/>
            <a:ext cx="2459736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23176" y="1409701"/>
            <a:ext cx="2459736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C3999C7-E763-4050-BC0E-E9090F84780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237112" y="1409701"/>
            <a:ext cx="2459736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538375F-017C-4D3C-98B0-0B49D2AAE3BA}"/>
              </a:ext>
            </a:extLst>
          </p:cNvPr>
          <p:cNvCxnSpPr/>
          <p:nvPr userDrawn="1"/>
        </p:nvCxnSpPr>
        <p:spPr>
          <a:xfrm>
            <a:off x="3182137" y="1410880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B52EB66-0BC5-4D65-9873-7791F0C2A2E0}"/>
              </a:ext>
            </a:extLst>
          </p:cNvPr>
          <p:cNvCxnSpPr/>
          <p:nvPr userDrawn="1"/>
        </p:nvCxnSpPr>
        <p:spPr>
          <a:xfrm>
            <a:off x="6096075" y="1410880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3A66CFF-0E1D-4769-AC5A-FFCF982704C6}"/>
              </a:ext>
            </a:extLst>
          </p:cNvPr>
          <p:cNvCxnSpPr/>
          <p:nvPr userDrawn="1"/>
        </p:nvCxnSpPr>
        <p:spPr>
          <a:xfrm>
            <a:off x="9010013" y="1410880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617889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+ Pics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3657600"/>
            <a:ext cx="2459736" cy="2209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, Arial Bold 10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409237" y="3657600"/>
            <a:ext cx="2459736" cy="2209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23174" y="3657600"/>
            <a:ext cx="2459736" cy="2209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C3999C7-E763-4050-BC0E-E9090F84780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237112" y="3657600"/>
            <a:ext cx="2459736" cy="2209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632F1BF-A417-46F5-A2B0-EE338C9464D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5300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B664EC32-C8D7-4696-8955-D27860B1160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409935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7BC96BB2-8963-4074-99F2-2BEB65D70F6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323872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3FAAAD28-DA69-4AAE-9FAD-9F27417572F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237112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1047161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2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11006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, Arial Bold 10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411006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39F757B-7399-47EF-8C93-6F4A6410845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95300" y="3844171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9B1BC2-D1BF-4967-9DEB-0E2180966050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324600" y="3844171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293210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teen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95300" y="1412104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, Arial Bold 10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324600" y="1412104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39F757B-7399-47EF-8C93-6F4A6410845A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95300" y="5080223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9B1BC2-D1BF-4967-9DEB-0E2180966050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322327" y="5080223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3266E99-6D42-417C-A216-84A2B3B715ED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407664" y="1412104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054589B4-7F05-4C7A-A2EE-48FB0A13E0D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9236964" y="1412104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F2E9B699-079A-4F7A-A636-380F36093446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407664" y="5080223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7401885D-5D62-448F-BC24-63F385C48568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236964" y="5080223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7257D68F-E97D-4F92-A3D3-D1503CB5DE64}"/>
              </a:ext>
            </a:extLst>
          </p:cNvPr>
          <p:cNvSpPr>
            <a:spLocks noGrp="1"/>
          </p:cNvSpPr>
          <p:nvPr>
            <p:ph type="chart" sz="quarter" idx="21"/>
          </p:nvPr>
        </p:nvSpPr>
        <p:spPr>
          <a:xfrm>
            <a:off x="495299" y="2634810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17" name="Chart Placeholder 6">
            <a:extLst>
              <a:ext uri="{FF2B5EF4-FFF2-40B4-BE49-F238E27FC236}">
                <a16:creationId xmlns:a16="http://schemas.microsoft.com/office/drawing/2014/main" id="{3B3B5C6B-85C1-4026-8D2C-B5C2CE44A5D5}"/>
              </a:ext>
            </a:extLst>
          </p:cNvPr>
          <p:cNvSpPr>
            <a:spLocks noGrp="1"/>
          </p:cNvSpPr>
          <p:nvPr>
            <p:ph type="chart" sz="quarter" idx="22"/>
          </p:nvPr>
        </p:nvSpPr>
        <p:spPr>
          <a:xfrm>
            <a:off x="3409341" y="2634810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18" name="Chart Placeholder 6">
            <a:extLst>
              <a:ext uri="{FF2B5EF4-FFF2-40B4-BE49-F238E27FC236}">
                <a16:creationId xmlns:a16="http://schemas.microsoft.com/office/drawing/2014/main" id="{9950548D-185E-4E8F-ACC1-7147F8753B87}"/>
              </a:ext>
            </a:extLst>
          </p:cNvPr>
          <p:cNvSpPr>
            <a:spLocks noGrp="1"/>
          </p:cNvSpPr>
          <p:nvPr>
            <p:ph type="chart" sz="quarter" idx="23"/>
          </p:nvPr>
        </p:nvSpPr>
        <p:spPr>
          <a:xfrm>
            <a:off x="6323383" y="2634810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19" name="Chart Placeholder 6">
            <a:extLst>
              <a:ext uri="{FF2B5EF4-FFF2-40B4-BE49-F238E27FC236}">
                <a16:creationId xmlns:a16="http://schemas.microsoft.com/office/drawing/2014/main" id="{E621986D-B207-419E-8DB3-B0A4BB23DA35}"/>
              </a:ext>
            </a:extLst>
          </p:cNvPr>
          <p:cNvSpPr>
            <a:spLocks noGrp="1"/>
          </p:cNvSpPr>
          <p:nvPr>
            <p:ph type="chart" sz="quarter" idx="24"/>
          </p:nvPr>
        </p:nvSpPr>
        <p:spPr>
          <a:xfrm>
            <a:off x="9237662" y="2634810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0" name="Chart Placeholder 6">
            <a:extLst>
              <a:ext uri="{FF2B5EF4-FFF2-40B4-BE49-F238E27FC236}">
                <a16:creationId xmlns:a16="http://schemas.microsoft.com/office/drawing/2014/main" id="{4F23C499-BF0D-4A23-948D-7CF2255178FF}"/>
              </a:ext>
            </a:extLst>
          </p:cNvPr>
          <p:cNvSpPr>
            <a:spLocks noGrp="1"/>
          </p:cNvSpPr>
          <p:nvPr>
            <p:ph type="chart" sz="quarter" idx="25"/>
          </p:nvPr>
        </p:nvSpPr>
        <p:spPr>
          <a:xfrm>
            <a:off x="495299" y="3857516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1" name="Chart Placeholder 6">
            <a:extLst>
              <a:ext uri="{FF2B5EF4-FFF2-40B4-BE49-F238E27FC236}">
                <a16:creationId xmlns:a16="http://schemas.microsoft.com/office/drawing/2014/main" id="{86A17512-7EDD-4F1A-A28C-60AEB3A2B060}"/>
              </a:ext>
            </a:extLst>
          </p:cNvPr>
          <p:cNvSpPr>
            <a:spLocks noGrp="1"/>
          </p:cNvSpPr>
          <p:nvPr>
            <p:ph type="chart" sz="quarter" idx="26"/>
          </p:nvPr>
        </p:nvSpPr>
        <p:spPr>
          <a:xfrm>
            <a:off x="3409341" y="3857516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2" name="Chart Placeholder 6">
            <a:extLst>
              <a:ext uri="{FF2B5EF4-FFF2-40B4-BE49-F238E27FC236}">
                <a16:creationId xmlns:a16="http://schemas.microsoft.com/office/drawing/2014/main" id="{565C587C-501C-4648-B14F-7472AC051890}"/>
              </a:ext>
            </a:extLst>
          </p:cNvPr>
          <p:cNvSpPr>
            <a:spLocks noGrp="1"/>
          </p:cNvSpPr>
          <p:nvPr>
            <p:ph type="chart" sz="quarter" idx="27"/>
          </p:nvPr>
        </p:nvSpPr>
        <p:spPr>
          <a:xfrm>
            <a:off x="6323383" y="3857516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3" name="Chart Placeholder 6">
            <a:extLst>
              <a:ext uri="{FF2B5EF4-FFF2-40B4-BE49-F238E27FC236}">
                <a16:creationId xmlns:a16="http://schemas.microsoft.com/office/drawing/2014/main" id="{1EA84FC4-84EB-4A41-846C-1EEBF8A54C82}"/>
              </a:ext>
            </a:extLst>
          </p:cNvPr>
          <p:cNvSpPr>
            <a:spLocks noGrp="1"/>
          </p:cNvSpPr>
          <p:nvPr>
            <p:ph type="chart" sz="quarter" idx="28"/>
          </p:nvPr>
        </p:nvSpPr>
        <p:spPr>
          <a:xfrm>
            <a:off x="9237662" y="3857516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</p:spTree>
    <p:extLst>
      <p:ext uri="{BB962C8B-B14F-4D97-AF65-F5344CB8AC3E}">
        <p14:creationId xmlns:p14="http://schemas.microsoft.com/office/powerpoint/2010/main" val="232530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93538A-4A54-4A25-9BD2-E79855D6A5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827C14D-9EED-4F3B-9141-0F28829197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, Arial Bold 10p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D08997-B423-407B-B60D-8D5DFC3705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829822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59AAC5D-D7D8-42DB-BA4B-6CDFC5FAF0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, Arial Bold 10p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C549D9-CB0B-4053-B4B8-18A9A6E347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240723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 OF THE TEMPLAT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4703B52-DBF5-48FD-AB36-B36970177F1B}"/>
              </a:ext>
            </a:extLst>
          </p:cNvPr>
          <p:cNvSpPr txBox="1"/>
          <p:nvPr userDrawn="1"/>
        </p:nvSpPr>
        <p:spPr>
          <a:xfrm>
            <a:off x="4516170" y="2978965"/>
            <a:ext cx="3159659" cy="9144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/>
            <a:r>
              <a:rPr lang="en-US" sz="6600" b="1">
                <a:solidFill>
                  <a:schemeClr val="bg1"/>
                </a:solidFill>
                <a:latin typeface="+mj-lt"/>
              </a:rPr>
              <a:t>END OF THE TEMPLATE</a:t>
            </a:r>
          </a:p>
        </p:txBody>
      </p:sp>
    </p:spTree>
    <p:extLst>
      <p:ext uri="{BB962C8B-B14F-4D97-AF65-F5344CB8AC3E}">
        <p14:creationId xmlns:p14="http://schemas.microsoft.com/office/powerpoint/2010/main" val="204937081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3608D1B4-3571-D547-9044-DF4647E45F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4945" y="435941"/>
            <a:ext cx="10515600" cy="49122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ts val="294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7E422B6C-ABE4-B34F-B9D5-FE2A40B0BE9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84213" y="824422"/>
            <a:ext cx="10225087" cy="4184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500" b="0" i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b="0" i="0">
                <a:latin typeface="Arial" panose="020B0604020202020204" pitchFamily="34" charset="0"/>
                <a:cs typeface="Arial" panose="020B0604020202020204" pitchFamily="34" charset="0"/>
              </a:rPr>
              <a:t>Sub Header Text Optional, Arial Regular 15pt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2A312E3-9997-774E-86BF-DFE4821388F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84213" y="2251424"/>
            <a:ext cx="5827712" cy="2954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68832770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+ 5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0">
            <a:extLst>
              <a:ext uri="{FF2B5EF4-FFF2-40B4-BE49-F238E27FC236}">
                <a16:creationId xmlns:a16="http://schemas.microsoft.com/office/drawing/2014/main" id="{7FEED254-594A-4DEF-B14F-BB320B35EAD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D14B37AE-D376-4803-909C-43B768E77C4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450164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CC3E13D1-E94F-4B4D-83D6-B5F06339C4E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900328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0A7BAA9-D280-435E-831E-F80E2AAA10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800656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F8319823-0FB9-4E89-AEE4-CE31D964944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350492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1C9632D-2F70-4D0E-B737-ACF4A2DDEB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300" y="3429001"/>
            <a:ext cx="11201400" cy="952500"/>
          </a:xfrm>
        </p:spPr>
        <p:txBody>
          <a:bodyPr tIns="0" anchor="t"/>
          <a:lstStyle>
            <a:lvl1pPr algn="l">
              <a:lnSpc>
                <a:spcPct val="80000"/>
              </a:lnSpc>
              <a:defRPr sz="44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7C3F44-5413-48F1-ACBF-6BEAE9CA8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5300" y="4800600"/>
            <a:ext cx="2819400" cy="1066801"/>
          </a:xfrm>
        </p:spPr>
        <p:txBody>
          <a:bodyPr tIns="0" bIns="182880" anchor="t" anchorCtr="0"/>
          <a:lstStyle>
            <a:lvl1pPr marL="0" indent="0" algn="l">
              <a:spcAft>
                <a:spcPts val="0"/>
              </a:spcAft>
              <a:buNone/>
              <a:defRPr sz="1600" b="0" cap="all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spcAft>
                <a:spcPts val="1200"/>
              </a:spcAft>
              <a:buNone/>
              <a:defRPr sz="1600" b="1" cap="all" baseline="0">
                <a:solidFill>
                  <a:schemeClr val="tx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’s Name</a:t>
            </a:r>
          </a:p>
          <a:p>
            <a:pPr lvl="1"/>
            <a:r>
              <a:rPr lang="en-US"/>
              <a:t>Presenter’s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C79F04-7833-4562-B8D1-AC0341D757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877300" y="4800601"/>
            <a:ext cx="2819400" cy="673625"/>
          </a:xfrm>
          <a:prstGeom prst="rect">
            <a:avLst/>
          </a:prstGeom>
        </p:spPr>
        <p:txBody>
          <a:bodyPr lIns="0" tIns="0" rIns="0" bIns="0" anchor="t"/>
          <a:lstStyle>
            <a:lvl1pPr algn="r">
              <a:defRPr sz="1600" b="1">
                <a:solidFill>
                  <a:schemeClr val="tx1"/>
                </a:solidFill>
                <a:latin typeface="+mn-lt"/>
              </a:defRPr>
            </a:lvl1pPr>
          </a:lstStyle>
          <a:p>
            <a:fld id="{933D8C16-F92E-42E4-A695-CFC4867433E8}" type="datetime4">
              <a:rPr lang="en-US" smtClean="0"/>
              <a:t>April 14, 2025</a:t>
            </a:fld>
            <a:endParaRPr lang="en-US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0A43BEBD-56B2-42F2-A52E-ADB299D805A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8212" y="6008332"/>
            <a:ext cx="24446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09143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  <p15:guide id="2" orient="horz" pos="3024" userDrawn="1">
          <p15:clr>
            <a:srgbClr val="FBAE40"/>
          </p15:clr>
        </p15:guide>
        <p15:guide id="3" orient="horz" pos="1896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3pPr>
              <a:buClrTx/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98498" y="5554934"/>
            <a:ext cx="5600703" cy="237617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r>
              <a:rPr lang="en-US">
                <a:solidFill>
                  <a:schemeClr val="tx1"/>
                </a:solidFill>
                <a:cs typeface="Arial" pitchFamily="34" charset="0"/>
              </a:rPr>
              <a:t>HONEYWELL CONFIDENTIAL / PROPRIETARY - Subject to Title Slid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50F7696B-AED7-4649-B1BE-83104AF7ADDD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6096000"/>
            <a:ext cx="12192000" cy="376654"/>
          </a:xfr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1200"/>
            </a:lvl5pPr>
          </a:lstStyle>
          <a:p>
            <a:pPr lvl="0"/>
            <a:r>
              <a:rPr lang="en-US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13806653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D926425-8E0A-4F19-95F9-2CCCC40F83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D926425-8E0A-4F19-95F9-2CCCC40F83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94E27FC-0EBE-49F1-BF4C-F70FB47B782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000" b="0" i="0" baseline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5" cy="40357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lnSpc>
                <a:spcPct val="8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EA7BEA89-1F2D-4361-A0A6-ED0DF3A4E070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58820" y="1273220"/>
            <a:ext cx="5489645" cy="4800035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00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000">
              <a:lnSpc>
                <a:spcPct val="90000"/>
              </a:lnSpc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90000"/>
              </a:lnSpc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9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/>
              <a:t>Edit Master text styles, 24pt</a:t>
            </a:r>
          </a:p>
          <a:p>
            <a:pPr lvl="1"/>
            <a:r>
              <a:rPr lang="en-US"/>
              <a:t>Second level, 22pt</a:t>
            </a:r>
          </a:p>
          <a:p>
            <a:pPr lvl="2"/>
            <a:r>
              <a:rPr lang="en-US"/>
              <a:t>Third level, 20pt</a:t>
            </a:r>
          </a:p>
          <a:p>
            <a:pPr lvl="3"/>
            <a:r>
              <a:rPr lang="en-US"/>
              <a:t>Fourth level, 18pt</a:t>
            </a:r>
          </a:p>
          <a:p>
            <a:pPr lvl="4"/>
            <a:r>
              <a:rPr lang="en-US"/>
              <a:t>Fifth level, 16pt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E0EC2BDF-6703-43C8-A8D3-D7076C7DA2FF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6315668" y="1273220"/>
            <a:ext cx="5489645" cy="4800035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00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000">
              <a:lnSpc>
                <a:spcPct val="90000"/>
              </a:lnSpc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90000"/>
              </a:lnSpc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9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/>
              <a:t>Edit Master text styles, 24pt</a:t>
            </a:r>
          </a:p>
          <a:p>
            <a:pPr lvl="1"/>
            <a:r>
              <a:rPr lang="en-US"/>
              <a:t>Second level, 22pt</a:t>
            </a:r>
          </a:p>
          <a:p>
            <a:pPr lvl="2"/>
            <a:r>
              <a:rPr lang="en-US"/>
              <a:t>Third level, 20pt</a:t>
            </a:r>
          </a:p>
          <a:p>
            <a:pPr lvl="3"/>
            <a:r>
              <a:rPr lang="en-US"/>
              <a:t>Fourth level, 18pt</a:t>
            </a:r>
          </a:p>
          <a:p>
            <a:pPr lvl="4"/>
            <a:r>
              <a:rPr lang="en-US"/>
              <a:t>Fifth level, 16pt</a:t>
            </a:r>
          </a:p>
        </p:txBody>
      </p:sp>
    </p:spTree>
    <p:extLst>
      <p:ext uri="{BB962C8B-B14F-4D97-AF65-F5344CB8AC3E}">
        <p14:creationId xmlns:p14="http://schemas.microsoft.com/office/powerpoint/2010/main" val="19475057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96" userDrawn="1">
          <p15:clr>
            <a:srgbClr val="FBAE40"/>
          </p15:clr>
        </p15:guide>
        <p15:guide id="3" pos="3984" userDrawn="1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+ Pic Light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>
            <a:extLst>
              <a:ext uri="{FF2B5EF4-FFF2-40B4-BE49-F238E27FC236}">
                <a16:creationId xmlns:a16="http://schemas.microsoft.com/office/drawing/2014/main" id="{D17ADFA0-0F71-4971-A8E4-F5B8AFCEAEF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8330" y="3588789"/>
            <a:ext cx="5600700" cy="892017"/>
          </a:xfrm>
        </p:spPr>
        <p:txBody>
          <a:bodyPr tIns="0" bIns="182880" anchor="t" anchorCtr="0"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b="0" cap="all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 b="1" cap="all" baseline="0">
                <a:solidFill>
                  <a:schemeClr val="tx1"/>
                </a:solidFill>
              </a:defRPr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Presenter’s Name</a:t>
            </a:r>
          </a:p>
          <a:p>
            <a:pPr lvl="1"/>
            <a:r>
              <a:rPr lang="en-US"/>
              <a:t>Presenter’s Title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2A002D32-82E1-4A26-B21B-211E36D8536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38329" y="4610475"/>
            <a:ext cx="2743200" cy="365125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ct val="90000"/>
              </a:lnSpc>
              <a:defRPr sz="1600" b="0">
                <a:solidFill>
                  <a:schemeClr val="tx1"/>
                </a:solidFill>
                <a:latin typeface="+mn-lt"/>
              </a:defRPr>
            </a:lvl1pPr>
          </a:lstStyle>
          <a:p>
            <a:fld id="{B8402602-5779-4F5E-8EA6-1DD6CFA32963}" type="datetime4">
              <a:rPr lang="en-US" smtClean="0"/>
              <a:t>April 14, 2025</a:t>
            </a:fld>
            <a:endParaRPr lang="en-US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ACDFF16B-FE21-41D3-AC2E-390ECA51B5C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20294" y="1136740"/>
            <a:ext cx="9140021" cy="978088"/>
          </a:xfrm>
          <a:prstGeom prst="rect">
            <a:avLst/>
          </a:prstGeom>
        </p:spPr>
        <p:txBody>
          <a:bodyPr wrap="square" tIns="0" anchor="t">
            <a:spAutoFit/>
          </a:bodyPr>
          <a:lstStyle>
            <a:lvl1pPr algn="l">
              <a:lnSpc>
                <a:spcPct val="70000"/>
              </a:lnSpc>
              <a:defRPr sz="44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C1282C00-7ED9-4141-8769-C6C45F4C30D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61732" y="6178496"/>
            <a:ext cx="1753669" cy="3279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1512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  <p15:guide id="2" orient="horz" pos="321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+ Pic Light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>
            <a:extLst>
              <a:ext uri="{FF2B5EF4-FFF2-40B4-BE49-F238E27FC236}">
                <a16:creationId xmlns:a16="http://schemas.microsoft.com/office/drawing/2014/main" id="{D17ADFA0-0F71-4971-A8E4-F5B8AFCEAEF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8330" y="3588789"/>
            <a:ext cx="5600700" cy="892017"/>
          </a:xfrm>
        </p:spPr>
        <p:txBody>
          <a:bodyPr tIns="0" bIns="182880" anchor="t" anchorCtr="0"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b="0" cap="all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 b="1" cap="all" baseline="0">
                <a:solidFill>
                  <a:schemeClr val="tx1"/>
                </a:solidFill>
              </a:defRPr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Presenter’s Name</a:t>
            </a:r>
          </a:p>
          <a:p>
            <a:pPr lvl="1"/>
            <a:r>
              <a:rPr lang="en-US"/>
              <a:t>Presenter’s Title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2A002D32-82E1-4A26-B21B-211E36D8536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38329" y="4610475"/>
            <a:ext cx="2743200" cy="365125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ct val="90000"/>
              </a:lnSpc>
              <a:defRPr sz="1600" b="0">
                <a:solidFill>
                  <a:schemeClr val="tx1"/>
                </a:solidFill>
                <a:latin typeface="+mn-lt"/>
              </a:defRPr>
            </a:lvl1pPr>
          </a:lstStyle>
          <a:p>
            <a:fld id="{B8402602-5779-4F5E-8EA6-1DD6CFA32963}" type="datetime4">
              <a:rPr lang="en-US" smtClean="0"/>
              <a:t>April 14, 2025</a:t>
            </a:fld>
            <a:endParaRPr lang="en-US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ACDFF16B-FE21-41D3-AC2E-390ECA51B5C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20294" y="1136740"/>
            <a:ext cx="9140021" cy="978088"/>
          </a:xfrm>
          <a:prstGeom prst="rect">
            <a:avLst/>
          </a:prstGeom>
        </p:spPr>
        <p:txBody>
          <a:bodyPr wrap="square" tIns="0" anchor="t">
            <a:spAutoFit/>
          </a:bodyPr>
          <a:lstStyle>
            <a:lvl1pPr algn="l">
              <a:lnSpc>
                <a:spcPct val="70000"/>
              </a:lnSpc>
              <a:defRPr sz="44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1BF3A480-33FE-4DED-A76C-244D5E28DF1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61732" y="6178496"/>
            <a:ext cx="1753669" cy="3279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4736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  <p15:guide id="2" orient="horz" pos="321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+ Pic Dark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id="{ABE5B79E-6E09-4AE0-B068-70661783035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58821" y="6207119"/>
            <a:ext cx="2134171" cy="299357"/>
          </a:xfrm>
          <a:prstGeom prst="rect">
            <a:avLst/>
          </a:prstGeom>
        </p:spPr>
      </p:pic>
      <p:sp>
        <p:nvSpPr>
          <p:cNvPr id="7" name="Subtitle 2">
            <a:extLst>
              <a:ext uri="{FF2B5EF4-FFF2-40B4-BE49-F238E27FC236}">
                <a16:creationId xmlns:a16="http://schemas.microsoft.com/office/drawing/2014/main" id="{ABF8822E-0C02-4814-A6E7-56C0B7B0D69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8330" y="3588789"/>
            <a:ext cx="5600700" cy="892017"/>
          </a:xfrm>
        </p:spPr>
        <p:txBody>
          <a:bodyPr tIns="0" bIns="182880" anchor="t" anchorCtr="0"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b="0" cap="all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 b="1" cap="all" baseline="0">
                <a:solidFill>
                  <a:schemeClr val="bg1"/>
                </a:solidFill>
              </a:defRPr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Presenter’s Name</a:t>
            </a:r>
          </a:p>
          <a:p>
            <a:pPr lvl="1"/>
            <a:r>
              <a:rPr lang="en-US"/>
              <a:t>Presenter’s Title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93D0887F-F992-4ED3-9419-002B82CE70F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38329" y="4610475"/>
            <a:ext cx="2743200" cy="365125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ct val="90000"/>
              </a:lnSpc>
              <a:defRPr sz="1600" b="0">
                <a:solidFill>
                  <a:schemeClr val="bg1"/>
                </a:solidFill>
                <a:latin typeface="+mn-lt"/>
              </a:defRPr>
            </a:lvl1pPr>
          </a:lstStyle>
          <a:p>
            <a:fld id="{DAF33CB4-36A4-4A83-B2A1-155A520B62A4}" type="datetime4">
              <a:rPr lang="en-US" smtClean="0"/>
              <a:t>April 14, 2025</a:t>
            </a:fld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17BD0CEE-D14F-4358-BCC8-8251FBDD43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20294" y="1136740"/>
            <a:ext cx="9140021" cy="978088"/>
          </a:xfrm>
          <a:prstGeom prst="rect">
            <a:avLst/>
          </a:prstGeom>
        </p:spPr>
        <p:txBody>
          <a:bodyPr wrap="square" tIns="0" anchor="t">
            <a:spAutoFit/>
          </a:bodyPr>
          <a:lstStyle>
            <a:lvl1pPr algn="l">
              <a:lnSpc>
                <a:spcPct val="70000"/>
              </a:lnSpc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131808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  <p15:guide id="2" orient="horz" pos="321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Colo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F1AD5E1-596F-44FE-BB24-7F1520D02E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5125154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F1AD5E1-596F-44FE-BB24-7F1520D02E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591A3BB-35C0-46F1-913B-1F85EECFAB4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300" b="0" i="0" baseline="0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1C9632D-2F70-4D0E-B737-ACF4A2DDEB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20294" y="1136740"/>
            <a:ext cx="9140021" cy="978088"/>
          </a:xfrm>
          <a:prstGeom prst="rect">
            <a:avLst/>
          </a:prstGeom>
        </p:spPr>
        <p:txBody>
          <a:bodyPr wrap="square" tIns="0" anchor="t">
            <a:spAutoFit/>
          </a:bodyPr>
          <a:lstStyle>
            <a:lvl1pPr algn="l">
              <a:lnSpc>
                <a:spcPct val="70000"/>
              </a:lnSpc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D6B30DC4-0D9C-4E5D-ACEA-49FE637AB09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8330" y="3588789"/>
            <a:ext cx="5600700" cy="892017"/>
          </a:xfrm>
        </p:spPr>
        <p:txBody>
          <a:bodyPr tIns="0" bIns="182880" anchor="t" anchorCtr="0"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b="0" cap="all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 b="1" cap="all" baseline="0">
                <a:solidFill>
                  <a:schemeClr val="bg1"/>
                </a:solidFill>
              </a:defRPr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Presenter’s Name</a:t>
            </a:r>
          </a:p>
          <a:p>
            <a:pPr lvl="1"/>
            <a:r>
              <a:rPr lang="en-US"/>
              <a:t>Presenter’s Title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2A162CD9-C74B-42A2-AF31-1FC2342BB38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38329" y="4610475"/>
            <a:ext cx="2743200" cy="365125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ct val="90000"/>
              </a:lnSpc>
              <a:defRPr sz="1600" b="0">
                <a:solidFill>
                  <a:schemeClr val="bg1"/>
                </a:solidFill>
                <a:latin typeface="+mn-lt"/>
              </a:defRPr>
            </a:lvl1pPr>
          </a:lstStyle>
          <a:p>
            <a:fld id="{D6CA57CA-5A10-4A0F-BB01-2FAE20F831C9}" type="datetime4">
              <a:rPr lang="en-US" smtClean="0"/>
              <a:t>April 14, 2025</a:t>
            </a:fld>
            <a:endParaRPr lang="en-US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04006F25-D41A-40AB-B4AF-9F8E2AE1AA7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58821" y="6207119"/>
            <a:ext cx="2134171" cy="299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09824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  <p15:guide id="2" orient="horz" pos="321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+ 5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65922E2-F175-43A5-BEF3-3E987A9397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6457405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65922E2-F175-43A5-BEF3-3E987A9397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4EF15769-D396-4F8C-B263-C2330A1F8F6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300" b="0" i="0" baseline="0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7" name="Picture Placeholder 10">
            <a:extLst>
              <a:ext uri="{FF2B5EF4-FFF2-40B4-BE49-F238E27FC236}">
                <a16:creationId xmlns:a16="http://schemas.microsoft.com/office/drawing/2014/main" id="{7FEED254-594A-4DEF-B14F-BB320B35EAD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D14B37AE-D376-4803-909C-43B768E77C4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450164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CC3E13D1-E94F-4B4D-83D6-B5F06339C4E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900328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0A7BAA9-D280-435E-831E-F80E2AAA10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800656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F8319823-0FB9-4E89-AEE4-CE31D964944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350492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1C9632D-2F70-4D0E-B737-ACF4A2DDEB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43536" y="3429001"/>
            <a:ext cx="11337880" cy="504112"/>
          </a:xfrm>
          <a:prstGeom prst="rect">
            <a:avLst/>
          </a:prstGeom>
        </p:spPr>
        <p:txBody>
          <a:bodyPr wrap="square" tIns="0" anchor="t">
            <a:spAutoFit/>
          </a:bodyPr>
          <a:lstStyle>
            <a:lvl1pPr algn="l">
              <a:lnSpc>
                <a:spcPct val="70000"/>
              </a:lnSpc>
              <a:defRPr sz="44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7C3F44-5413-48F1-ACBF-6BEAE9CA8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1733" y="4681904"/>
            <a:ext cx="4681753" cy="683264"/>
          </a:xfrm>
        </p:spPr>
        <p:txBody>
          <a:bodyPr wrap="square" tIns="0" bIns="182880" anchor="t" anchorCtr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b="0" cap="all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 b="1" cap="all" baseline="0">
                <a:solidFill>
                  <a:schemeClr val="tx1"/>
                </a:solidFill>
              </a:defRPr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Presenter’s Name</a:t>
            </a:r>
          </a:p>
          <a:p>
            <a:pPr lvl="1"/>
            <a:r>
              <a:rPr lang="en-US"/>
              <a:t>Presenter’s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C79F04-7833-4562-B8D1-AC0341D757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64645" y="5450755"/>
            <a:ext cx="4678840" cy="221599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algn="l">
              <a:lnSpc>
                <a:spcPct val="90000"/>
              </a:lnSpc>
              <a:defRPr sz="1600" b="0">
                <a:solidFill>
                  <a:schemeClr val="tx1"/>
                </a:solidFill>
                <a:latin typeface="+mn-lt"/>
              </a:defRPr>
            </a:lvl1pPr>
          </a:lstStyle>
          <a:p>
            <a:fld id="{613564CA-6AB8-4E79-8144-97FF6C7CC1CA}" type="datetime4">
              <a:rPr lang="en-US" smtClean="0"/>
              <a:t>April 14, 2025</a:t>
            </a:fld>
            <a:endParaRPr lang="en-US"/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0750C988-DD0C-40C4-8297-659218FB1AB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61732" y="6178496"/>
            <a:ext cx="1753669" cy="3279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39974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  <p15:guide id="2" orient="horz" pos="3024">
          <p15:clr>
            <a:srgbClr val="FBAE40"/>
          </p15:clr>
        </p15:guide>
        <p15:guide id="3" orient="horz" pos="1896">
          <p15:clr>
            <a:srgbClr val="FBAE40"/>
          </p15:clr>
        </p15:guide>
        <p15:guide id="4" orient="horz" pos="2760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Gray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8690" y="3848101"/>
            <a:ext cx="5600700" cy="2019300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lang="en-US" sz="20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6A06642E-2F61-4998-B937-96BE41E564C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8689" y="6369209"/>
            <a:ext cx="1524000" cy="213769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1C224819-8C0C-431D-80CA-610F414A67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8690" y="1409699"/>
            <a:ext cx="8348452" cy="978088"/>
          </a:xfrm>
          <a:prstGeom prst="rect">
            <a:avLst/>
          </a:prstGeom>
        </p:spPr>
        <p:txBody>
          <a:bodyPr wrap="square" tIns="0" anchor="t">
            <a:spAutoFit/>
          </a:bodyPr>
          <a:lstStyle>
            <a:lvl1pPr>
              <a:lnSpc>
                <a:spcPct val="70000"/>
              </a:lnSpc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476966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+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1C84CC1-84B5-4D26-AEDB-357857ECF4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2104062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1C84CC1-84B5-4D26-AEDB-357857ECF4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C1BFB45-C43D-4713-A656-53090907DA3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300" b="0" i="0" baseline="0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2297" y="3848099"/>
            <a:ext cx="11453017" cy="504112"/>
          </a:xfrm>
          <a:prstGeom prst="rect">
            <a:avLst/>
          </a:prstGeom>
        </p:spPr>
        <p:txBody>
          <a:bodyPr wrap="square" tIns="0" anchor="t">
            <a:spAutoFit/>
          </a:bodyPr>
          <a:lstStyle>
            <a:lvl1pPr>
              <a:lnSpc>
                <a:spcPct val="70000"/>
              </a:lnSpc>
              <a:defRPr sz="44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43095" y="5105402"/>
            <a:ext cx="5523367" cy="461665"/>
          </a:xfrm>
        </p:spPr>
        <p:txBody>
          <a:bodyPr wrap="square" tIns="182880" anchor="t">
            <a:spAutoFit/>
          </a:bodyPr>
          <a:lstStyle>
            <a:lvl1pPr marL="0" indent="0">
              <a:lnSpc>
                <a:spcPct val="90000"/>
              </a:lnSpc>
              <a:buNone/>
              <a:defRPr sz="20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AAC5B92-BD5C-40B8-8837-AA1A4971E6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872EB30C-2B5C-4099-9A24-D0B58457183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61732" y="6178496"/>
            <a:ext cx="1753669" cy="3279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78916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16">
          <p15:clr>
            <a:srgbClr val="FBAE40"/>
          </p15:clr>
        </p15:guide>
        <p15:guide id="2" pos="5592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+ 5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AAC5B92-BD5C-40B8-8837-AA1A4971E6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Picture Placeholder 10">
            <a:extLst>
              <a:ext uri="{FF2B5EF4-FFF2-40B4-BE49-F238E27FC236}">
                <a16:creationId xmlns:a16="http://schemas.microsoft.com/office/drawing/2014/main" id="{80D7819A-630E-44DC-929F-93349077483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448189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86C7584E-D951-44B3-B6A7-50BBD18EEA0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896379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2B80078C-A569-4E2A-801C-5381A518F10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792756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83DF5146-688C-4FB5-8042-A8DDBF6B622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344567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2F184294-67A6-421E-A141-2D63D93A12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2297" y="3848099"/>
            <a:ext cx="11453017" cy="504112"/>
          </a:xfrm>
          <a:prstGeom prst="rect">
            <a:avLst/>
          </a:prstGeom>
        </p:spPr>
        <p:txBody>
          <a:bodyPr wrap="square" tIns="0" anchor="t">
            <a:spAutoFit/>
          </a:bodyPr>
          <a:lstStyle>
            <a:lvl1pPr>
              <a:lnSpc>
                <a:spcPct val="70000"/>
              </a:lnSpc>
              <a:defRPr sz="44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D377FF56-AE8D-4398-9FA0-481030C59241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43095" y="5105402"/>
            <a:ext cx="5523367" cy="461665"/>
          </a:xfrm>
        </p:spPr>
        <p:txBody>
          <a:bodyPr wrap="square" tIns="182880" anchor="t">
            <a:spAutoFit/>
          </a:bodyPr>
          <a:lstStyle>
            <a:lvl1pPr marL="0" indent="0">
              <a:lnSpc>
                <a:spcPct val="90000"/>
              </a:lnSpc>
              <a:buNone/>
              <a:defRPr sz="20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22D48FBB-817B-4978-A633-C8051CA9325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61732" y="6178496"/>
            <a:ext cx="1753669" cy="3279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95604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16">
          <p15:clr>
            <a:srgbClr val="FBAE40"/>
          </p15:clr>
        </p15:guide>
        <p15:guide id="2" pos="5592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 Gray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1409700"/>
            <a:ext cx="8382000" cy="2438401"/>
          </a:xfrm>
        </p:spPr>
        <p:txBody>
          <a:bodyPr tIns="0" anchor="t"/>
          <a:lstStyle>
            <a:lvl1pPr>
              <a:lnSpc>
                <a:spcPct val="80000"/>
              </a:lnSpc>
              <a:defRPr lang="en-US" sz="4400" b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3848101"/>
            <a:ext cx="5600700" cy="2019300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554CFFDD-05DC-402C-8089-120C9C2FE86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6237" y="6528244"/>
            <a:ext cx="1143000" cy="213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9494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 userDrawn="1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+ Icons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8690" y="3429001"/>
            <a:ext cx="8921657" cy="1447799"/>
          </a:xfrm>
          <a:prstGeom prst="rect">
            <a:avLst/>
          </a:prstGeom>
        </p:spPr>
        <p:txBody>
          <a:bodyPr tIns="0" anchor="t"/>
          <a:lstStyle>
            <a:lvl1pPr>
              <a:lnSpc>
                <a:spcPct val="70000"/>
              </a:lnSpc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8689" y="4876802"/>
            <a:ext cx="8921656" cy="461665"/>
          </a:xfrm>
        </p:spPr>
        <p:txBody>
          <a:bodyPr wrap="square" tIns="182880" anchor="t">
            <a:spAutoFit/>
          </a:bodyPr>
          <a:lstStyle>
            <a:lvl1pPr marL="0" indent="0">
              <a:lnSpc>
                <a:spcPct val="90000"/>
              </a:lnSpc>
              <a:buNone/>
              <a:defRPr sz="2000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2FEDD368-A3BB-4F75-99C5-2A66335897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8689" y="6369209"/>
            <a:ext cx="1524000" cy="213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18027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72">
          <p15:clr>
            <a:srgbClr val="FBAE40"/>
          </p15:clr>
        </p15:guide>
        <p15:guide id="2" pos="5592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+ large Icon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779350-F79E-4670-8766-69328892C4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6044231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779350-F79E-4670-8766-69328892C4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30627E3-1DA9-4C85-BDEE-E3FA68038BF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300" b="0" i="0" baseline="0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8690" y="1409699"/>
            <a:ext cx="8348452" cy="978088"/>
          </a:xfrm>
          <a:prstGeom prst="rect">
            <a:avLst/>
          </a:prstGeom>
        </p:spPr>
        <p:txBody>
          <a:bodyPr wrap="square" tIns="0" anchor="t">
            <a:spAutoFit/>
          </a:bodyPr>
          <a:lstStyle>
            <a:lvl1pPr>
              <a:lnSpc>
                <a:spcPct val="70000"/>
              </a:lnSpc>
              <a:defRPr sz="44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8690" y="3848102"/>
            <a:ext cx="5600700" cy="276999"/>
          </a:xfrm>
        </p:spPr>
        <p:txBody>
          <a:bodyPr tIns="0" anchor="t">
            <a:spAutoFit/>
          </a:bodyPr>
          <a:lstStyle>
            <a:lvl1pPr marL="0" indent="0">
              <a:lnSpc>
                <a:spcPct val="90000"/>
              </a:lnSpc>
              <a:buNone/>
              <a:defRPr sz="20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EAD9E843-EB5E-46D9-8DA4-825F2307EDC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61732" y="6178496"/>
            <a:ext cx="1753669" cy="3279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24403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72">
          <p15:clr>
            <a:srgbClr val="FBAE40"/>
          </p15:clr>
        </p15:guide>
        <p15:guide id="2" pos="5592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D926425-8E0A-4F19-95F9-2CCCC40F83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8071197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D926425-8E0A-4F19-95F9-2CCCC40F83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94E27FC-0EBE-49F1-BF4C-F70FB47B782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000" b="0" i="0" baseline="0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5" cy="40357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lnSpc>
                <a:spcPct val="8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EA7BEA89-1F2D-4361-A0A6-ED0DF3A4E070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58820" y="1273220"/>
            <a:ext cx="5489645" cy="4800035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00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000">
              <a:lnSpc>
                <a:spcPct val="90000"/>
              </a:lnSpc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90000"/>
              </a:lnSpc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9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/>
              <a:t>Edit Master text styles, 24pt</a:t>
            </a:r>
          </a:p>
          <a:p>
            <a:pPr lvl="1"/>
            <a:r>
              <a:rPr lang="en-US"/>
              <a:t>Second level, 22pt</a:t>
            </a:r>
          </a:p>
          <a:p>
            <a:pPr lvl="2"/>
            <a:r>
              <a:rPr lang="en-US"/>
              <a:t>Third level, 20pt</a:t>
            </a:r>
          </a:p>
          <a:p>
            <a:pPr lvl="3"/>
            <a:r>
              <a:rPr lang="en-US"/>
              <a:t>Fourth level, 18pt</a:t>
            </a:r>
          </a:p>
          <a:p>
            <a:pPr lvl="4"/>
            <a:r>
              <a:rPr lang="en-US"/>
              <a:t>Fifth level, 16pt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E0EC2BDF-6703-43C8-A8D3-D7076C7DA2FF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6315668" y="1273220"/>
            <a:ext cx="5489645" cy="4800035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00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000">
              <a:lnSpc>
                <a:spcPct val="90000"/>
              </a:lnSpc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90000"/>
              </a:lnSpc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9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/>
              <a:t>Edit Master text styles, 24pt</a:t>
            </a:r>
          </a:p>
          <a:p>
            <a:pPr lvl="1"/>
            <a:r>
              <a:rPr lang="en-US"/>
              <a:t>Second level, 22pt</a:t>
            </a:r>
          </a:p>
          <a:p>
            <a:pPr lvl="2"/>
            <a:r>
              <a:rPr lang="en-US"/>
              <a:t>Third level, 20pt</a:t>
            </a:r>
          </a:p>
          <a:p>
            <a:pPr lvl="3"/>
            <a:r>
              <a:rPr lang="en-US"/>
              <a:t>Fourth level, 18pt</a:t>
            </a:r>
          </a:p>
          <a:p>
            <a:pPr lvl="4"/>
            <a:r>
              <a:rPr lang="en-US"/>
              <a:t>Fifth level, 16pt</a:t>
            </a:r>
          </a:p>
        </p:txBody>
      </p:sp>
    </p:spTree>
    <p:extLst>
      <p:ext uri="{BB962C8B-B14F-4D97-AF65-F5344CB8AC3E}">
        <p14:creationId xmlns:p14="http://schemas.microsoft.com/office/powerpoint/2010/main" val="1775509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D926425-8E0A-4F19-95F9-2CCCC40F83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69658660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D926425-8E0A-4F19-95F9-2CCCC40F83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94E27FC-0EBE-49F1-BF4C-F70FB47B782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000" b="0" i="0" baseline="0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5" cy="40357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lnSpc>
                <a:spcPct val="8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EA7BEA89-1F2D-4361-A0A6-ED0DF3A4E070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58820" y="1273220"/>
            <a:ext cx="5489645" cy="4800035"/>
          </a:xfrm>
        </p:spPr>
        <p:txBody>
          <a:bodyPr wrap="square"/>
          <a:lstStyle>
            <a:lvl1pPr marL="457200" indent="-45720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2400"/>
            </a:lvl1pPr>
            <a:lvl2pPr marL="468000" indent="0">
              <a:lnSpc>
                <a:spcPct val="90000"/>
              </a:lnSpc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None/>
              <a:defRPr sz="2200"/>
            </a:lvl2pPr>
            <a:lvl3pPr marL="378000" indent="0">
              <a:lnSpc>
                <a:spcPct val="80000"/>
              </a:lnSpc>
              <a:buFont typeface="Arial" panose="020B0604020202020204" pitchFamily="34" charset="0"/>
              <a:buNone/>
              <a:defRPr sz="2000"/>
            </a:lvl3pPr>
            <a:lvl4pPr marL="1044000" indent="-342000">
              <a:lnSpc>
                <a:spcPct val="80000"/>
              </a:lnSpc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8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/>
              <a:t>Edit Master text styles, 24pt</a:t>
            </a:r>
          </a:p>
          <a:p>
            <a:pPr lvl="1"/>
            <a:r>
              <a:rPr lang="en-US"/>
              <a:t>Second level, 22pt</a:t>
            </a:r>
          </a:p>
          <a:p>
            <a:pPr lvl="1"/>
            <a:endParaRPr lang="en-US"/>
          </a:p>
          <a:p>
            <a:pPr lvl="0"/>
            <a:r>
              <a:rPr lang="en-US"/>
              <a:t>Edit Master text styles, 24pt</a:t>
            </a:r>
          </a:p>
          <a:p>
            <a:pPr lvl="1"/>
            <a:r>
              <a:rPr lang="en-US"/>
              <a:t>Second level, 22pt</a:t>
            </a:r>
          </a:p>
          <a:p>
            <a:pPr lvl="1"/>
            <a:endParaRPr lang="en-US"/>
          </a:p>
          <a:p>
            <a:pPr lvl="0"/>
            <a:r>
              <a:rPr lang="en-US"/>
              <a:t>Edit Master text styles, 24pt</a:t>
            </a:r>
          </a:p>
          <a:p>
            <a:pPr lvl="1"/>
            <a:r>
              <a:rPr lang="en-US"/>
              <a:t>Second level, 22pt</a:t>
            </a:r>
          </a:p>
          <a:p>
            <a:pPr lvl="1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4B001BFE-4586-4123-8A39-A8763BE551B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6315668" y="1273220"/>
            <a:ext cx="5489645" cy="4800035"/>
          </a:xfrm>
        </p:spPr>
        <p:txBody>
          <a:bodyPr wrap="square"/>
          <a:lstStyle>
            <a:lvl1pPr marL="457200" indent="-45720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 startAt="4"/>
              <a:defRPr sz="2400"/>
            </a:lvl1pPr>
            <a:lvl2pPr marL="468000" indent="0">
              <a:lnSpc>
                <a:spcPct val="90000"/>
              </a:lnSpc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None/>
              <a:defRPr sz="2200"/>
            </a:lvl2pPr>
            <a:lvl3pPr marL="378000" indent="0">
              <a:lnSpc>
                <a:spcPct val="80000"/>
              </a:lnSpc>
              <a:buFont typeface="Arial" panose="020B0604020202020204" pitchFamily="34" charset="0"/>
              <a:buNone/>
              <a:defRPr sz="2000"/>
            </a:lvl3pPr>
            <a:lvl4pPr marL="1044000" indent="-342000">
              <a:lnSpc>
                <a:spcPct val="80000"/>
              </a:lnSpc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8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/>
              <a:t>Edit Master text styles, 24pt</a:t>
            </a:r>
          </a:p>
          <a:p>
            <a:pPr lvl="1"/>
            <a:r>
              <a:rPr lang="en-US"/>
              <a:t>Second level, 22pt</a:t>
            </a:r>
          </a:p>
          <a:p>
            <a:pPr lvl="1"/>
            <a:endParaRPr lang="en-US"/>
          </a:p>
          <a:p>
            <a:pPr lvl="0"/>
            <a:r>
              <a:rPr lang="en-US"/>
              <a:t>Edit Master text styles, 24pt</a:t>
            </a:r>
          </a:p>
          <a:p>
            <a:pPr lvl="1"/>
            <a:r>
              <a:rPr lang="en-US"/>
              <a:t>Second level, 22pt</a:t>
            </a:r>
          </a:p>
          <a:p>
            <a:pPr lvl="1"/>
            <a:endParaRPr lang="en-US"/>
          </a:p>
          <a:p>
            <a:pPr lvl="0"/>
            <a:r>
              <a:rPr lang="en-US"/>
              <a:t>Edit Master text styles, 24pt</a:t>
            </a:r>
          </a:p>
          <a:p>
            <a:pPr lvl="1"/>
            <a:r>
              <a:rPr lang="en-US"/>
              <a:t>Second level, 22pt</a:t>
            </a:r>
          </a:p>
          <a:p>
            <a:pPr lvl="1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63378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XL Content Gray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1" y="491319"/>
            <a:ext cx="11159889" cy="5581935"/>
          </a:xfrm>
          <a:prstGeom prst="rect">
            <a:avLst/>
          </a:prstGeom>
        </p:spPr>
        <p:txBody>
          <a:bodyPr tIns="0" anchor="ctr"/>
          <a:lstStyle>
            <a:lvl1pPr>
              <a:lnSpc>
                <a:spcPct val="70000"/>
              </a:lnSpc>
              <a:defRPr sz="8800" b="0" spc="-225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Rectangle 23">
            <a:extLst>
              <a:ext uri="{FF2B5EF4-FFF2-40B4-BE49-F238E27FC236}">
                <a16:creationId xmlns:a16="http://schemas.microsoft.com/office/drawing/2014/main" id="{734947D9-EEFA-4FAD-A5C2-27EFEA76486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922389" y="6478016"/>
            <a:ext cx="4118435" cy="2154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altLang="en-US" sz="60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© 2024 Honeywell International Inc. Neither this document nor the information contained herein may be reproduced, used, distributed or disclosed to others without the written consent of Honeywell</a:t>
            </a:r>
          </a:p>
        </p:txBody>
      </p:sp>
    </p:spTree>
    <p:extLst>
      <p:ext uri="{BB962C8B-B14F-4D97-AF65-F5344CB8AC3E}">
        <p14:creationId xmlns:p14="http://schemas.microsoft.com/office/powerpoint/2010/main" val="7486512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5592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Cont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495301"/>
            <a:ext cx="5372101" cy="5850909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80000"/>
              </a:lnSpc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99F7BE-26E0-43EC-B648-2436C3A3F9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0" y="0"/>
            <a:ext cx="5867400" cy="6858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42976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96">
          <p15:clr>
            <a:srgbClr val="FBAE40"/>
          </p15:clr>
        </p15:guide>
        <p15:guide id="2" pos="3984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Content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495300"/>
            <a:ext cx="5372101" cy="5878204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8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99F7BE-26E0-43EC-B648-2436C3A3F9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0" y="0"/>
            <a:ext cx="5867400" cy="6858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44013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96">
          <p15:clr>
            <a:srgbClr val="FBAE40"/>
          </p15:clr>
        </p15:guide>
        <p15:guide id="2" pos="3984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50F7696B-AED7-4649-B1BE-83104AF7ADDD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2"/>
            <a:ext cx="12192000" cy="495299"/>
          </a:xfr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1200"/>
            </a:lvl5pPr>
          </a:lstStyle>
          <a:p>
            <a:pPr lvl="0"/>
            <a:r>
              <a:rPr lang="en-US"/>
              <a:t>Key Takeaway Text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00FA05A-5C58-4939-B23A-CA85D50352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5" cy="40357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lnSpc>
                <a:spcPct val="8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C6CCC7F8-42A2-41CE-A454-D4B73C6EFD34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58820" y="1273221"/>
            <a:ext cx="11446493" cy="4049406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00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000">
              <a:lnSpc>
                <a:spcPct val="90000"/>
              </a:lnSpc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90000"/>
              </a:lnSpc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9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/>
              <a:t>Edit Master text styles, 24pt</a:t>
            </a:r>
          </a:p>
          <a:p>
            <a:pPr lvl="1"/>
            <a:r>
              <a:rPr lang="en-US"/>
              <a:t>Second level, 22pt</a:t>
            </a:r>
          </a:p>
          <a:p>
            <a:pPr lvl="2"/>
            <a:r>
              <a:rPr lang="en-US"/>
              <a:t>Third level, 20pt</a:t>
            </a:r>
          </a:p>
          <a:p>
            <a:pPr lvl="3"/>
            <a:r>
              <a:rPr lang="en-US"/>
              <a:t>Fourth level, 18pt</a:t>
            </a:r>
          </a:p>
          <a:p>
            <a:pPr lvl="4"/>
            <a:r>
              <a:rPr lang="en-US"/>
              <a:t>Fifth level, 16pt</a:t>
            </a:r>
          </a:p>
        </p:txBody>
      </p:sp>
    </p:spTree>
    <p:extLst>
      <p:ext uri="{BB962C8B-B14F-4D97-AF65-F5344CB8AC3E}">
        <p14:creationId xmlns:p14="http://schemas.microsoft.com/office/powerpoint/2010/main" val="190082995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4D0DF29E-4A6C-4505-AA49-6B64388E1397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2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1200"/>
            </a:lvl5pPr>
          </a:lstStyle>
          <a:p>
            <a:pPr lvl="0"/>
            <a:r>
              <a:rPr lang="en-US"/>
              <a:t>Key Takeaway Text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536296D-A8A9-4486-BC21-BD1C0D821F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5" cy="40357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lnSpc>
                <a:spcPct val="8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2DA497B2-243B-4FD4-8B4C-1E09B70CB43A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6315668" y="1273221"/>
            <a:ext cx="5489645" cy="4215793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00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000">
              <a:lnSpc>
                <a:spcPct val="90000"/>
              </a:lnSpc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90000"/>
              </a:lnSpc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9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/>
              <a:t>Edit Master text styles, 24pt</a:t>
            </a:r>
          </a:p>
          <a:p>
            <a:pPr lvl="1"/>
            <a:r>
              <a:rPr lang="en-US"/>
              <a:t>Second level, 22pt</a:t>
            </a:r>
          </a:p>
          <a:p>
            <a:pPr lvl="2"/>
            <a:r>
              <a:rPr lang="en-US"/>
              <a:t>Third level, 20pt</a:t>
            </a:r>
          </a:p>
          <a:p>
            <a:pPr lvl="3"/>
            <a:r>
              <a:rPr lang="en-US"/>
              <a:t>Fourth level, 18pt</a:t>
            </a:r>
          </a:p>
          <a:p>
            <a:pPr lvl="4"/>
            <a:r>
              <a:rPr lang="en-US"/>
              <a:t>Fifth level, 16pt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ED23A41-0D60-48EB-986C-21EDF999D9F9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58820" y="1273221"/>
            <a:ext cx="5489645" cy="4215792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00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000">
              <a:lnSpc>
                <a:spcPct val="90000"/>
              </a:lnSpc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90000"/>
              </a:lnSpc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9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/>
              <a:t>Edit Master text styles, 24pt</a:t>
            </a:r>
          </a:p>
          <a:p>
            <a:pPr lvl="1"/>
            <a:r>
              <a:rPr lang="en-US"/>
              <a:t>Second level, 22pt</a:t>
            </a:r>
          </a:p>
          <a:p>
            <a:pPr lvl="2"/>
            <a:r>
              <a:rPr lang="en-US"/>
              <a:t>Third level, 20pt</a:t>
            </a:r>
          </a:p>
          <a:p>
            <a:pPr lvl="3"/>
            <a:r>
              <a:rPr lang="en-US"/>
              <a:t>Fourth level, 18pt</a:t>
            </a:r>
          </a:p>
          <a:p>
            <a:pPr lvl="4"/>
            <a:r>
              <a:rPr lang="en-US"/>
              <a:t>Fifth level, 16pt</a:t>
            </a:r>
          </a:p>
        </p:txBody>
      </p:sp>
    </p:spTree>
    <p:extLst>
      <p:ext uri="{BB962C8B-B14F-4D97-AF65-F5344CB8AC3E}">
        <p14:creationId xmlns:p14="http://schemas.microsoft.com/office/powerpoint/2010/main" val="19300869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+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F9CDEF-0719-484F-8C20-787B9E5CF79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1" y="1273220"/>
            <a:ext cx="5372100" cy="4215793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4064076E-2966-4D1B-8F30-6885CA148AF4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2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1200"/>
            </a:lvl5pPr>
          </a:lstStyle>
          <a:p>
            <a:pPr lvl="0"/>
            <a:r>
              <a:rPr lang="en-US"/>
              <a:t>Key Takeaway Text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6F7AF3F3-CE71-4538-AB47-415EDACA03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5" cy="40357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lnSpc>
                <a:spcPct val="8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F14CFAE6-238D-483D-9D10-B7E2788A9693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58820" y="1273221"/>
            <a:ext cx="5489645" cy="4215792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00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000">
              <a:lnSpc>
                <a:spcPct val="90000"/>
              </a:lnSpc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90000"/>
              </a:lnSpc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9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/>
              <a:t>Edit Master text styles, 24pt</a:t>
            </a:r>
          </a:p>
          <a:p>
            <a:pPr lvl="1"/>
            <a:r>
              <a:rPr lang="en-US"/>
              <a:t>Second level, 22pt</a:t>
            </a:r>
          </a:p>
          <a:p>
            <a:pPr lvl="2"/>
            <a:r>
              <a:rPr lang="en-US"/>
              <a:t>Third level, 20pt</a:t>
            </a:r>
          </a:p>
          <a:p>
            <a:pPr lvl="3"/>
            <a:r>
              <a:rPr lang="en-US"/>
              <a:t>Fourth level, 18pt</a:t>
            </a:r>
          </a:p>
          <a:p>
            <a:pPr lvl="4"/>
            <a:r>
              <a:rPr lang="en-US"/>
              <a:t>Fifth level, 16pt</a:t>
            </a:r>
          </a:p>
        </p:txBody>
      </p:sp>
    </p:spTree>
    <p:extLst>
      <p:ext uri="{BB962C8B-B14F-4D97-AF65-F5344CB8AC3E}">
        <p14:creationId xmlns:p14="http://schemas.microsoft.com/office/powerpoint/2010/main" val="1603507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+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3848099"/>
            <a:ext cx="8382000" cy="1257301"/>
          </a:xfrm>
        </p:spPr>
        <p:txBody>
          <a:bodyPr tIns="0" anchor="t"/>
          <a:lstStyle>
            <a:lvl1pPr>
              <a:lnSpc>
                <a:spcPct val="80000"/>
              </a:lnSpc>
              <a:defRPr sz="44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5105400"/>
            <a:ext cx="8382000" cy="1257301"/>
          </a:xfrm>
        </p:spPr>
        <p:txBody>
          <a:bodyPr tIns="18288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7546317B-3751-4D87-BA2D-3B5F5976195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6237" y="6528244"/>
            <a:ext cx="1143000" cy="213769"/>
          </a:xfrm>
          <a:prstGeom prst="rect">
            <a:avLst/>
          </a:prstGeom>
        </p:spPr>
      </p:pic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AAC5B92-BD5C-40B8-8837-AA1A4971E6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2427166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16" userDrawn="1">
          <p15:clr>
            <a:srgbClr val="FBAE40"/>
          </p15:clr>
        </p15:guide>
        <p15:guide id="2" pos="5592" userDrawn="1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+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7B930328-96E9-4581-AB46-BC006A6DBD5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8819" y="1300516"/>
            <a:ext cx="5489645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55B90B35-A8E2-43F4-9EE2-F7A3C794C84F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-1" y="5867400"/>
            <a:ext cx="12192000" cy="495300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1200"/>
            </a:lvl5pPr>
          </a:lstStyle>
          <a:p>
            <a:pPr lvl="0"/>
            <a:r>
              <a:rPr lang="en-US"/>
              <a:t>Key Takeaway Text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968204F5-2A45-4B00-A392-2D31EC9983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5" cy="40357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lnSpc>
                <a:spcPct val="8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Picture Placeholder 6">
            <a:extLst>
              <a:ext uri="{FF2B5EF4-FFF2-40B4-BE49-F238E27FC236}">
                <a16:creationId xmlns:a16="http://schemas.microsoft.com/office/drawing/2014/main" id="{C636046D-D989-410E-84A4-C8061B4F9E5C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15668" y="1300516"/>
            <a:ext cx="5489645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E0B31B94-96D6-4DA4-B75E-A3F4B4277A12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315668" y="3807725"/>
            <a:ext cx="5489645" cy="1681288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00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000">
              <a:lnSpc>
                <a:spcPct val="90000"/>
              </a:lnSpc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90000"/>
              </a:lnSpc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9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/>
              <a:t>Edit Master text styles, 24pt</a:t>
            </a:r>
          </a:p>
          <a:p>
            <a:pPr lvl="1"/>
            <a:r>
              <a:rPr lang="en-US"/>
              <a:t>Second level, 22pt</a:t>
            </a:r>
          </a:p>
          <a:p>
            <a:pPr lvl="2"/>
            <a:r>
              <a:rPr lang="en-US"/>
              <a:t>Third level, 20pt</a:t>
            </a:r>
          </a:p>
          <a:p>
            <a:pPr lvl="3"/>
            <a:r>
              <a:rPr lang="en-US"/>
              <a:t>Fourth level, 18pt</a:t>
            </a:r>
          </a:p>
          <a:p>
            <a:pPr lvl="4"/>
            <a:r>
              <a:rPr lang="en-US"/>
              <a:t>Fifth level, 16p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C867E58-EBA3-47C2-9664-5F51BA26D21F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58820" y="3807725"/>
            <a:ext cx="5489645" cy="1681288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00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000">
              <a:lnSpc>
                <a:spcPct val="90000"/>
              </a:lnSpc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90000"/>
              </a:lnSpc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9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/>
              <a:t>Edit Master text styles, 24pt</a:t>
            </a:r>
          </a:p>
          <a:p>
            <a:pPr lvl="1"/>
            <a:r>
              <a:rPr lang="en-US"/>
              <a:t>Second level, 22pt</a:t>
            </a:r>
          </a:p>
          <a:p>
            <a:pPr lvl="2"/>
            <a:r>
              <a:rPr lang="en-US"/>
              <a:t>Third level, 20pt</a:t>
            </a:r>
          </a:p>
          <a:p>
            <a:pPr lvl="3"/>
            <a:r>
              <a:rPr lang="en-US"/>
              <a:t>Fourth level, 18pt</a:t>
            </a:r>
          </a:p>
          <a:p>
            <a:pPr lvl="4"/>
            <a:r>
              <a:rPr lang="en-US"/>
              <a:t>Fifth level, 16pt</a:t>
            </a:r>
          </a:p>
        </p:txBody>
      </p:sp>
    </p:spTree>
    <p:extLst>
      <p:ext uri="{BB962C8B-B14F-4D97-AF65-F5344CB8AC3E}">
        <p14:creationId xmlns:p14="http://schemas.microsoft.com/office/powerpoint/2010/main" val="4202055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  <p15:guide id="4" orient="horz" pos="2448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E752E914-DA92-4DFE-9C16-9F269B1910FB}"/>
              </a:ext>
            </a:extLst>
          </p:cNvPr>
          <p:cNvGrpSpPr/>
          <p:nvPr userDrawn="1"/>
        </p:nvGrpSpPr>
        <p:grpSpPr>
          <a:xfrm>
            <a:off x="4098325" y="1300517"/>
            <a:ext cx="4004515" cy="4344840"/>
            <a:chOff x="4125621" y="1410880"/>
            <a:chExt cx="4004515" cy="4462273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089AC965-3DBE-47AE-81C0-8C23B370263F}"/>
                </a:ext>
              </a:extLst>
            </p:cNvPr>
            <p:cNvCxnSpPr/>
            <p:nvPr userDrawn="1"/>
          </p:nvCxnSpPr>
          <p:spPr>
            <a:xfrm>
              <a:off x="4125621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555B345D-6ECD-4B25-B741-D306ED291B90}"/>
                </a:ext>
              </a:extLst>
            </p:cNvPr>
            <p:cNvCxnSpPr/>
            <p:nvPr userDrawn="1"/>
          </p:nvCxnSpPr>
          <p:spPr>
            <a:xfrm>
              <a:off x="8130136" y="1410881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Title 1">
            <a:extLst>
              <a:ext uri="{FF2B5EF4-FFF2-40B4-BE49-F238E27FC236}">
                <a16:creationId xmlns:a16="http://schemas.microsoft.com/office/drawing/2014/main" id="{B83457CB-727E-45A3-B890-9778304AD0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5" cy="40357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lnSpc>
                <a:spcPct val="8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E1699BCB-4D50-4239-8EF2-4567C2AB09B1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58822" y="1300519"/>
            <a:ext cx="3450037" cy="4344838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00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000">
              <a:lnSpc>
                <a:spcPct val="90000"/>
              </a:lnSpc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90000"/>
              </a:lnSpc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9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/>
              <a:t>Edit Master text styles, 24pt</a:t>
            </a:r>
          </a:p>
          <a:p>
            <a:pPr lvl="1"/>
            <a:r>
              <a:rPr lang="en-US"/>
              <a:t>Second level, 22pt</a:t>
            </a:r>
          </a:p>
          <a:p>
            <a:pPr lvl="2"/>
            <a:r>
              <a:rPr lang="en-US"/>
              <a:t>Third level, 20pt</a:t>
            </a:r>
          </a:p>
          <a:p>
            <a:pPr lvl="3"/>
            <a:r>
              <a:rPr lang="en-US"/>
              <a:t>Fourth level, 18pt</a:t>
            </a:r>
          </a:p>
          <a:p>
            <a:pPr lvl="4"/>
            <a:r>
              <a:rPr lang="en-US"/>
              <a:t>Fifth level, 16pt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4AEDC548-7522-4A33-A494-B49BEF3A7DAC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402539" y="1300519"/>
            <a:ext cx="3429000" cy="4344838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00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000">
              <a:lnSpc>
                <a:spcPct val="90000"/>
              </a:lnSpc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90000"/>
              </a:lnSpc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9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/>
              <a:t>Edit Master text styles, 24pt</a:t>
            </a:r>
          </a:p>
          <a:p>
            <a:pPr lvl="1"/>
            <a:r>
              <a:rPr lang="en-US"/>
              <a:t>Second level, 22pt</a:t>
            </a:r>
          </a:p>
          <a:p>
            <a:pPr lvl="2"/>
            <a:r>
              <a:rPr lang="en-US"/>
              <a:t>Third level, 20pt</a:t>
            </a:r>
          </a:p>
          <a:p>
            <a:pPr lvl="3"/>
            <a:r>
              <a:rPr lang="en-US"/>
              <a:t>Fourth level, 18pt</a:t>
            </a:r>
          </a:p>
          <a:p>
            <a:pPr lvl="4"/>
            <a:r>
              <a:rPr lang="en-US"/>
              <a:t>Fifth level, 16pt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3AB7F2DA-ADAD-4DB5-98A5-0ADA52EECDD9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374143" y="1300519"/>
            <a:ext cx="3429000" cy="4344838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00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000">
              <a:lnSpc>
                <a:spcPct val="90000"/>
              </a:lnSpc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90000"/>
              </a:lnSpc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9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/>
              <a:t>Edit Master text styles, 24pt</a:t>
            </a:r>
          </a:p>
          <a:p>
            <a:pPr lvl="1"/>
            <a:r>
              <a:rPr lang="en-US"/>
              <a:t>Second level, 22pt</a:t>
            </a:r>
          </a:p>
          <a:p>
            <a:pPr lvl="2"/>
            <a:r>
              <a:rPr lang="en-US"/>
              <a:t>Third level, 20pt</a:t>
            </a:r>
          </a:p>
          <a:p>
            <a:pPr lvl="3"/>
            <a:r>
              <a:rPr lang="en-US"/>
              <a:t>Fourth level, 18pt</a:t>
            </a:r>
          </a:p>
          <a:p>
            <a:pPr lvl="4"/>
            <a:r>
              <a:rPr lang="en-US"/>
              <a:t>Fifth level, 16pt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3D6A0D0A-FBD1-466C-93D5-2E6AEB2D7B32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-1" y="5867400"/>
            <a:ext cx="12192000" cy="495300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1200"/>
            </a:lvl5pPr>
          </a:lstStyle>
          <a:p>
            <a:pPr lvl="0"/>
            <a:r>
              <a:rPr lang="en-US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42611524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+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DE1C42F-82A3-49D7-9B58-607C4E4D581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58819" y="127322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622D68AC-932E-4B0C-90A5-71EE23ACE46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81500" y="127322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D1A7CD19-76F6-4CBE-B54D-93302EA79B1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376313" y="127322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4CAE0181-37B5-43E5-A82A-CDD053C29C6C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-1" y="5867402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1200"/>
            </a:lvl5pPr>
          </a:lstStyle>
          <a:p>
            <a:pPr lvl="0"/>
            <a:r>
              <a:rPr lang="en-US"/>
              <a:t>Key Takeaway Text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A3C61E18-0824-4C4D-8B00-68F15385D9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5" cy="40357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lnSpc>
                <a:spcPct val="8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B470099D-726F-45AA-A0CB-63D587066D3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58822" y="3766782"/>
            <a:ext cx="3450037" cy="1722231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00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000">
              <a:lnSpc>
                <a:spcPct val="90000"/>
              </a:lnSpc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90000"/>
              </a:lnSpc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9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/>
              <a:t>Edit Master text styles, 24pt</a:t>
            </a:r>
          </a:p>
          <a:p>
            <a:pPr lvl="1"/>
            <a:r>
              <a:rPr lang="en-US"/>
              <a:t>Second level, 22pt</a:t>
            </a:r>
          </a:p>
          <a:p>
            <a:pPr lvl="2"/>
            <a:r>
              <a:rPr lang="en-US"/>
              <a:t>Third level, 20pt</a:t>
            </a:r>
          </a:p>
          <a:p>
            <a:pPr lvl="3"/>
            <a:r>
              <a:rPr lang="en-US"/>
              <a:t>Fourth level, 18pt</a:t>
            </a:r>
          </a:p>
          <a:p>
            <a:pPr lvl="4"/>
            <a:r>
              <a:rPr lang="en-US"/>
              <a:t>Fifth level, 16p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FD17594F-6185-43EC-8E1C-026096C075CE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402539" y="3766782"/>
            <a:ext cx="3429000" cy="1722231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00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000">
              <a:lnSpc>
                <a:spcPct val="90000"/>
              </a:lnSpc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90000"/>
              </a:lnSpc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9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/>
              <a:t>Edit Master text styles, 24pt</a:t>
            </a:r>
          </a:p>
          <a:p>
            <a:pPr lvl="1"/>
            <a:r>
              <a:rPr lang="en-US"/>
              <a:t>Second level, 22pt</a:t>
            </a:r>
          </a:p>
          <a:p>
            <a:pPr lvl="2"/>
            <a:r>
              <a:rPr lang="en-US"/>
              <a:t>Third level, 20pt</a:t>
            </a:r>
          </a:p>
          <a:p>
            <a:pPr lvl="3"/>
            <a:r>
              <a:rPr lang="en-US"/>
              <a:t>Fourth level, 18pt</a:t>
            </a:r>
          </a:p>
          <a:p>
            <a:pPr lvl="4"/>
            <a:r>
              <a:rPr lang="en-US"/>
              <a:t>Fifth level, 16pt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88436B3-D3A2-4095-B8EF-02B228BB9837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355274" y="3766782"/>
            <a:ext cx="3450039" cy="1722231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00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000">
              <a:lnSpc>
                <a:spcPct val="90000"/>
              </a:lnSpc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90000"/>
              </a:lnSpc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9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/>
              <a:t>Edit Master text styles, 24pt</a:t>
            </a:r>
          </a:p>
          <a:p>
            <a:pPr lvl="1"/>
            <a:r>
              <a:rPr lang="en-US"/>
              <a:t>Second level, 22pt</a:t>
            </a:r>
          </a:p>
          <a:p>
            <a:pPr lvl="2"/>
            <a:r>
              <a:rPr lang="en-US"/>
              <a:t>Third level, 20pt</a:t>
            </a:r>
          </a:p>
          <a:p>
            <a:pPr lvl="3"/>
            <a:r>
              <a:rPr lang="en-US"/>
              <a:t>Fourth level, 18pt</a:t>
            </a:r>
          </a:p>
          <a:p>
            <a:pPr lvl="4"/>
            <a:r>
              <a:rPr lang="en-US"/>
              <a:t>Fifth level, 16pt</a:t>
            </a:r>
          </a:p>
        </p:txBody>
      </p:sp>
    </p:spTree>
    <p:extLst>
      <p:ext uri="{BB962C8B-B14F-4D97-AF65-F5344CB8AC3E}">
        <p14:creationId xmlns:p14="http://schemas.microsoft.com/office/powerpoint/2010/main" val="14770971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48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14793E8-8AA5-49D1-B431-8FD8310103FA}"/>
              </a:ext>
            </a:extLst>
          </p:cNvPr>
          <p:cNvGrpSpPr/>
          <p:nvPr userDrawn="1"/>
        </p:nvGrpSpPr>
        <p:grpSpPr>
          <a:xfrm>
            <a:off x="3086601" y="1274400"/>
            <a:ext cx="5991652" cy="4344686"/>
            <a:chOff x="3127545" y="1410880"/>
            <a:chExt cx="5991652" cy="4462272"/>
          </a:xfrm>
        </p:grpSpPr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4538375F-017C-4D3C-98B0-0B49D2AAE3BA}"/>
                </a:ext>
              </a:extLst>
            </p:cNvPr>
            <p:cNvCxnSpPr/>
            <p:nvPr userDrawn="1"/>
          </p:nvCxnSpPr>
          <p:spPr>
            <a:xfrm>
              <a:off x="3127545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4B52EB66-0BC5-4D65-9873-7791F0C2A2E0}"/>
                </a:ext>
              </a:extLst>
            </p:cNvPr>
            <p:cNvCxnSpPr/>
            <p:nvPr userDrawn="1"/>
          </p:nvCxnSpPr>
          <p:spPr>
            <a:xfrm>
              <a:off x="6123371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43A66CFF-0E1D-4769-AC5A-FFCF982704C6}"/>
                </a:ext>
              </a:extLst>
            </p:cNvPr>
            <p:cNvCxnSpPr/>
            <p:nvPr userDrawn="1"/>
          </p:nvCxnSpPr>
          <p:spPr>
            <a:xfrm>
              <a:off x="9119197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E90AB464-576C-4A33-966B-DD17FE4C4181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2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1200"/>
            </a:lvl5pPr>
          </a:lstStyle>
          <a:p>
            <a:pPr lvl="0"/>
            <a:r>
              <a:rPr lang="en-US"/>
              <a:t>Key Takeaway Text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A188B354-73C1-4FC3-ADBC-D05E49D2C8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5" cy="40357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lnSpc>
                <a:spcPct val="8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04FE9CFD-5CE9-48E8-AB71-368FD15C350F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58822" y="1300518"/>
            <a:ext cx="2466609" cy="4344837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00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000">
              <a:lnSpc>
                <a:spcPct val="90000"/>
              </a:lnSpc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90000"/>
              </a:lnSpc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9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/>
              <a:t>Edit Master text styles, 24pt</a:t>
            </a:r>
          </a:p>
          <a:p>
            <a:pPr lvl="1"/>
            <a:r>
              <a:rPr lang="en-US"/>
              <a:t>Second level, 22pt</a:t>
            </a:r>
          </a:p>
          <a:p>
            <a:pPr lvl="2"/>
            <a:r>
              <a:rPr lang="en-US"/>
              <a:t>Third level, 20pt</a:t>
            </a:r>
          </a:p>
          <a:p>
            <a:pPr lvl="3"/>
            <a:r>
              <a:rPr lang="en-US"/>
              <a:t>Fourth level, 18pt</a:t>
            </a:r>
          </a:p>
          <a:p>
            <a:pPr lvl="4"/>
            <a:r>
              <a:rPr lang="en-US"/>
              <a:t>Fifth level, 16pt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05B0DA22-EAA1-41AD-8FCF-1363955117BF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338705" y="1300518"/>
            <a:ext cx="2466609" cy="4344837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00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000">
              <a:lnSpc>
                <a:spcPct val="90000"/>
              </a:lnSpc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90000"/>
              </a:lnSpc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9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/>
              <a:t>Edit Master text styles, 24pt</a:t>
            </a:r>
          </a:p>
          <a:p>
            <a:pPr lvl="1"/>
            <a:r>
              <a:rPr lang="en-US"/>
              <a:t>Second level, 22pt</a:t>
            </a:r>
          </a:p>
          <a:p>
            <a:pPr lvl="2"/>
            <a:r>
              <a:rPr lang="en-US"/>
              <a:t>Third level, 20pt</a:t>
            </a:r>
          </a:p>
          <a:p>
            <a:pPr lvl="3"/>
            <a:r>
              <a:rPr lang="en-US"/>
              <a:t>Fourth level, 18pt</a:t>
            </a:r>
          </a:p>
          <a:p>
            <a:pPr lvl="4"/>
            <a:r>
              <a:rPr lang="en-US"/>
              <a:t>Fifth level, 16pt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F377809B-E952-4F88-9208-5076781CD619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3352117" y="1300518"/>
            <a:ext cx="2466609" cy="4344837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00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000">
              <a:lnSpc>
                <a:spcPct val="90000"/>
              </a:lnSpc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90000"/>
              </a:lnSpc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9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/>
              <a:t>Edit Master text styles, 24pt</a:t>
            </a:r>
          </a:p>
          <a:p>
            <a:pPr lvl="1"/>
            <a:r>
              <a:rPr lang="en-US"/>
              <a:t>Second level, 22pt</a:t>
            </a:r>
          </a:p>
          <a:p>
            <a:pPr lvl="2"/>
            <a:r>
              <a:rPr lang="en-US"/>
              <a:t>Third level, 20pt</a:t>
            </a:r>
          </a:p>
          <a:p>
            <a:pPr lvl="3"/>
            <a:r>
              <a:rPr lang="en-US"/>
              <a:t>Fourth level, 18pt</a:t>
            </a:r>
          </a:p>
          <a:p>
            <a:pPr lvl="4"/>
            <a:r>
              <a:rPr lang="en-US"/>
              <a:t>Fifth level, 16p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CE175A5D-1DCB-4963-9098-2D78C7D64CD3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6345411" y="1300518"/>
            <a:ext cx="2466609" cy="4344837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00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000">
              <a:lnSpc>
                <a:spcPct val="90000"/>
              </a:lnSpc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90000"/>
              </a:lnSpc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9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/>
              <a:t>Edit Master text styles, 24pt</a:t>
            </a:r>
          </a:p>
          <a:p>
            <a:pPr lvl="1"/>
            <a:r>
              <a:rPr lang="en-US"/>
              <a:t>Second level, 22pt</a:t>
            </a:r>
          </a:p>
          <a:p>
            <a:pPr lvl="2"/>
            <a:r>
              <a:rPr lang="en-US"/>
              <a:t>Third level, 20pt</a:t>
            </a:r>
          </a:p>
          <a:p>
            <a:pPr lvl="3"/>
            <a:r>
              <a:rPr lang="en-US"/>
              <a:t>Fourth level, 18pt</a:t>
            </a:r>
          </a:p>
          <a:p>
            <a:pPr lvl="4"/>
            <a:r>
              <a:rPr lang="en-US"/>
              <a:t>Fifth level, 16pt</a:t>
            </a:r>
          </a:p>
        </p:txBody>
      </p:sp>
    </p:spTree>
    <p:extLst>
      <p:ext uri="{BB962C8B-B14F-4D97-AF65-F5344CB8AC3E}">
        <p14:creationId xmlns:p14="http://schemas.microsoft.com/office/powerpoint/2010/main" val="32034069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+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632F1BF-A417-46F5-A2B0-EE338C9464D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8819" y="1273220"/>
            <a:ext cx="2459039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B664EC32-C8D7-4696-8955-D27860B1160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54638" y="1273220"/>
            <a:ext cx="2459039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7BC96BB2-8963-4074-99F2-2BEB65D70F6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350458" y="1273220"/>
            <a:ext cx="2459039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3FAAAD28-DA69-4AAE-9FAD-9F27417572F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346275" y="1273220"/>
            <a:ext cx="2459039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230F8805-7C7A-42C7-AA78-A838FC7ADE60}"/>
              </a:ext>
            </a:extLst>
          </p:cNvPr>
          <p:cNvSpPr>
            <a:spLocks noGrp="1" noChangeAspect="1"/>
          </p:cNvSpPr>
          <p:nvPr>
            <p:ph type="body" sz="quarter" idx="20" hasCustomPrompt="1"/>
          </p:nvPr>
        </p:nvSpPr>
        <p:spPr>
          <a:xfrm>
            <a:off x="-1" y="5867402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1200"/>
            </a:lvl5pPr>
          </a:lstStyle>
          <a:p>
            <a:pPr lvl="0"/>
            <a:r>
              <a:rPr lang="en-US"/>
              <a:t>Key Takeaway Text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C79369E0-2594-4856-BA19-045C97E0C8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5" cy="40357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lnSpc>
                <a:spcPct val="8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B6191AC6-CDD3-4E09-9C59-5E94CEBA30FE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358822" y="3472937"/>
            <a:ext cx="2466609" cy="2111844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00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000">
              <a:lnSpc>
                <a:spcPct val="90000"/>
              </a:lnSpc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90000"/>
              </a:lnSpc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9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/>
              <a:t>Edit Master text styles, 24pt</a:t>
            </a:r>
          </a:p>
          <a:p>
            <a:pPr lvl="1"/>
            <a:r>
              <a:rPr lang="en-US"/>
              <a:t>Second level, 22pt</a:t>
            </a:r>
          </a:p>
          <a:p>
            <a:pPr lvl="2"/>
            <a:r>
              <a:rPr lang="en-US"/>
              <a:t>Third level, 20pt</a:t>
            </a:r>
          </a:p>
          <a:p>
            <a:pPr lvl="3"/>
            <a:r>
              <a:rPr lang="en-US"/>
              <a:t>Fourth level, 18pt</a:t>
            </a:r>
          </a:p>
          <a:p>
            <a:pPr lvl="4"/>
            <a:r>
              <a:rPr lang="en-US"/>
              <a:t>Fifth level, 16pt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AA7B0B9-FD2C-4C2D-B4D7-CB1BCE630EF2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338705" y="3472937"/>
            <a:ext cx="2466609" cy="2111844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00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000">
              <a:lnSpc>
                <a:spcPct val="90000"/>
              </a:lnSpc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90000"/>
              </a:lnSpc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9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/>
              <a:t>Edit Master text styles, 24pt</a:t>
            </a:r>
          </a:p>
          <a:p>
            <a:pPr lvl="1"/>
            <a:r>
              <a:rPr lang="en-US"/>
              <a:t>Second level, 22pt</a:t>
            </a:r>
          </a:p>
          <a:p>
            <a:pPr lvl="2"/>
            <a:r>
              <a:rPr lang="en-US"/>
              <a:t>Third level, 20pt</a:t>
            </a:r>
          </a:p>
          <a:p>
            <a:pPr lvl="3"/>
            <a:r>
              <a:rPr lang="en-US"/>
              <a:t>Fourth level, 18pt</a:t>
            </a:r>
          </a:p>
          <a:p>
            <a:pPr lvl="4"/>
            <a:r>
              <a:rPr lang="en-US"/>
              <a:t>Fifth level, 16pt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8999C672-9B01-45B9-B58B-BE5B55480890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3352117" y="3472937"/>
            <a:ext cx="2466609" cy="2111844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00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000">
              <a:lnSpc>
                <a:spcPct val="90000"/>
              </a:lnSpc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90000"/>
              </a:lnSpc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9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/>
              <a:t>Edit Master text styles, 24pt</a:t>
            </a:r>
          </a:p>
          <a:p>
            <a:pPr lvl="1"/>
            <a:r>
              <a:rPr lang="en-US"/>
              <a:t>Second level, 22pt</a:t>
            </a:r>
          </a:p>
          <a:p>
            <a:pPr lvl="2"/>
            <a:r>
              <a:rPr lang="en-US"/>
              <a:t>Third level, 20pt</a:t>
            </a:r>
          </a:p>
          <a:p>
            <a:pPr lvl="3"/>
            <a:r>
              <a:rPr lang="en-US"/>
              <a:t>Fourth level, 18pt</a:t>
            </a:r>
          </a:p>
          <a:p>
            <a:pPr lvl="4"/>
            <a:r>
              <a:rPr lang="en-US"/>
              <a:t>Fifth level, 16pt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CCE8ADC8-55D5-45AA-AFE7-9FD304F4EB91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6345411" y="3472937"/>
            <a:ext cx="2466609" cy="2111844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00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000">
              <a:lnSpc>
                <a:spcPct val="90000"/>
              </a:lnSpc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90000"/>
              </a:lnSpc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9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/>
              <a:t>Edit Master text styles, 24pt</a:t>
            </a:r>
          </a:p>
          <a:p>
            <a:pPr lvl="1"/>
            <a:r>
              <a:rPr lang="en-US"/>
              <a:t>Second level, 22pt</a:t>
            </a:r>
          </a:p>
          <a:p>
            <a:pPr lvl="2"/>
            <a:r>
              <a:rPr lang="en-US"/>
              <a:t>Third level, 20pt</a:t>
            </a:r>
          </a:p>
          <a:p>
            <a:pPr lvl="3"/>
            <a:r>
              <a:rPr lang="en-US"/>
              <a:t>Fourth level, 18pt</a:t>
            </a:r>
          </a:p>
          <a:p>
            <a:pPr lvl="4"/>
            <a:r>
              <a:rPr lang="en-US"/>
              <a:t>Fifth level, 16pt</a:t>
            </a:r>
          </a:p>
        </p:txBody>
      </p:sp>
    </p:spTree>
    <p:extLst>
      <p:ext uri="{BB962C8B-B14F-4D97-AF65-F5344CB8AC3E}">
        <p14:creationId xmlns:p14="http://schemas.microsoft.com/office/powerpoint/2010/main" val="4327778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DFA7B3DE-C704-4D6A-9148-C2EE51AB9559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4996"/>
            <a:ext cx="12192000" cy="497704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1200"/>
            </a:lvl5pPr>
          </a:lstStyle>
          <a:p>
            <a:pPr lvl="0"/>
            <a:r>
              <a:rPr lang="en-US"/>
              <a:t>Key Takeaway Text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2B2C3635-51CA-4376-B53E-0C667C3DE4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5" cy="40357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lnSpc>
                <a:spcPct val="8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64156E30-5EF4-4F94-B3C1-A3BC68504F8D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358822" y="1233691"/>
            <a:ext cx="5540420" cy="2119086"/>
          </a:xfrm>
        </p:spPr>
        <p:txBody>
          <a:bodyPr wrap="square"/>
          <a:lstStyle>
            <a:lvl1pPr marL="0" indent="0">
              <a:lnSpc>
                <a:spcPct val="8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000">
              <a:lnSpc>
                <a:spcPct val="8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000">
              <a:lnSpc>
                <a:spcPct val="80000"/>
              </a:lnSpc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80000"/>
              </a:lnSpc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8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/>
              <a:t>Edit Master text styles, 24pt</a:t>
            </a:r>
          </a:p>
          <a:p>
            <a:pPr lvl="1"/>
            <a:r>
              <a:rPr lang="en-US"/>
              <a:t>Second level, 22pt</a:t>
            </a:r>
          </a:p>
          <a:p>
            <a:pPr lvl="2"/>
            <a:r>
              <a:rPr lang="en-US"/>
              <a:t>Third level, 20pt</a:t>
            </a:r>
          </a:p>
          <a:p>
            <a:pPr lvl="3"/>
            <a:r>
              <a:rPr lang="en-US"/>
              <a:t>Fourth level, 18pt</a:t>
            </a:r>
          </a:p>
          <a:p>
            <a:pPr lvl="4"/>
            <a:r>
              <a:rPr lang="en-US"/>
              <a:t>Fifth level, 16pt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77F2807B-FB93-44FD-88CC-9A6001EFC18D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358822" y="3505224"/>
            <a:ext cx="5540420" cy="2119086"/>
          </a:xfrm>
        </p:spPr>
        <p:txBody>
          <a:bodyPr wrap="square"/>
          <a:lstStyle>
            <a:lvl1pPr marL="0" indent="0">
              <a:lnSpc>
                <a:spcPct val="8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000">
              <a:lnSpc>
                <a:spcPct val="8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000">
              <a:lnSpc>
                <a:spcPct val="80000"/>
              </a:lnSpc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80000"/>
              </a:lnSpc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8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/>
              <a:t>Edit Master text styles, 24pt</a:t>
            </a:r>
          </a:p>
          <a:p>
            <a:pPr lvl="1"/>
            <a:r>
              <a:rPr lang="en-US"/>
              <a:t>Second level, 22pt</a:t>
            </a:r>
          </a:p>
          <a:p>
            <a:pPr lvl="2"/>
            <a:r>
              <a:rPr lang="en-US"/>
              <a:t>Third level, 20pt</a:t>
            </a:r>
          </a:p>
          <a:p>
            <a:pPr lvl="3"/>
            <a:r>
              <a:rPr lang="en-US"/>
              <a:t>Fourth level, 18pt</a:t>
            </a:r>
          </a:p>
          <a:p>
            <a:pPr lvl="4"/>
            <a:r>
              <a:rPr lang="en-US"/>
              <a:t>Fifth level, 16pt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FCF8074E-6DD3-4C09-9D4B-BDA7497E98CF}"/>
              </a:ext>
            </a:extLst>
          </p:cNvPr>
          <p:cNvSpPr>
            <a:spLocks noGrp="1"/>
          </p:cNvSpPr>
          <p:nvPr>
            <p:ph idx="30" hasCustomPrompt="1"/>
          </p:nvPr>
        </p:nvSpPr>
        <p:spPr>
          <a:xfrm>
            <a:off x="6264894" y="1233691"/>
            <a:ext cx="5540420" cy="2119086"/>
          </a:xfrm>
        </p:spPr>
        <p:txBody>
          <a:bodyPr wrap="square"/>
          <a:lstStyle>
            <a:lvl1pPr marL="0" indent="0">
              <a:lnSpc>
                <a:spcPct val="8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000">
              <a:lnSpc>
                <a:spcPct val="8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000">
              <a:lnSpc>
                <a:spcPct val="80000"/>
              </a:lnSpc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80000"/>
              </a:lnSpc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8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/>
              <a:t>Edit Master text styles, 24pt</a:t>
            </a:r>
          </a:p>
          <a:p>
            <a:pPr lvl="1"/>
            <a:r>
              <a:rPr lang="en-US"/>
              <a:t>Second level, 22pt</a:t>
            </a:r>
          </a:p>
          <a:p>
            <a:pPr lvl="2"/>
            <a:r>
              <a:rPr lang="en-US"/>
              <a:t>Third level, 20pt</a:t>
            </a:r>
          </a:p>
          <a:p>
            <a:pPr lvl="3"/>
            <a:r>
              <a:rPr lang="en-US"/>
              <a:t>Fourth level, 18pt</a:t>
            </a:r>
          </a:p>
          <a:p>
            <a:pPr lvl="4"/>
            <a:r>
              <a:rPr lang="en-US"/>
              <a:t>Fifth level, 16pt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CDCAA458-0B62-4F8E-8186-B5B1A1835AF5}"/>
              </a:ext>
            </a:extLst>
          </p:cNvPr>
          <p:cNvSpPr>
            <a:spLocks noGrp="1"/>
          </p:cNvSpPr>
          <p:nvPr>
            <p:ph idx="31" hasCustomPrompt="1"/>
          </p:nvPr>
        </p:nvSpPr>
        <p:spPr>
          <a:xfrm>
            <a:off x="6264894" y="3505224"/>
            <a:ext cx="5540420" cy="2119086"/>
          </a:xfrm>
        </p:spPr>
        <p:txBody>
          <a:bodyPr wrap="square"/>
          <a:lstStyle>
            <a:lvl1pPr marL="0" indent="0">
              <a:lnSpc>
                <a:spcPct val="8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000">
              <a:lnSpc>
                <a:spcPct val="8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000">
              <a:lnSpc>
                <a:spcPct val="80000"/>
              </a:lnSpc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80000"/>
              </a:lnSpc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8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/>
              <a:t>Edit Master text styles, 24pt</a:t>
            </a:r>
          </a:p>
          <a:p>
            <a:pPr lvl="1"/>
            <a:r>
              <a:rPr lang="en-US"/>
              <a:t>Second level, 22pt</a:t>
            </a:r>
          </a:p>
          <a:p>
            <a:pPr lvl="2"/>
            <a:r>
              <a:rPr lang="en-US"/>
              <a:t>Third level, 20pt</a:t>
            </a:r>
          </a:p>
          <a:p>
            <a:pPr lvl="3"/>
            <a:r>
              <a:rPr lang="en-US"/>
              <a:t>Fourth level, 18pt</a:t>
            </a:r>
          </a:p>
          <a:p>
            <a:pPr lvl="4"/>
            <a:r>
              <a:rPr lang="en-US"/>
              <a:t>Fifth level, 16pt</a:t>
            </a:r>
          </a:p>
        </p:txBody>
      </p:sp>
    </p:spTree>
    <p:extLst>
      <p:ext uri="{BB962C8B-B14F-4D97-AF65-F5344CB8AC3E}">
        <p14:creationId xmlns:p14="http://schemas.microsoft.com/office/powerpoint/2010/main" val="11435459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D08997-B423-407B-B60D-8D5DFC3705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D64B098-3BC3-46B7-9278-55E699AD37C8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2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1200"/>
            </a:lvl5pPr>
          </a:lstStyle>
          <a:p>
            <a:pPr lvl="0"/>
            <a:r>
              <a:rPr lang="en-US"/>
              <a:t>Key Takeaway Text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CBA6384A-E178-4E5E-A7F8-EAD0372140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5" cy="40357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lnSpc>
                <a:spcPct val="8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3641773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C549D9-CB0B-4053-B4B8-18A9A6E347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895A6AF-DA14-4AA2-80B8-C7ACE12804ED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2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1200"/>
            </a:lvl5pPr>
          </a:lstStyle>
          <a:p>
            <a:pPr lvl="0"/>
            <a:r>
              <a:rPr lang="en-US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398555860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E2119B59-858C-4500-B149-5374ADF33E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5" cy="40357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lnSpc>
                <a:spcPct val="8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6F615F9A-04DF-4A34-986D-162F51504EE6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58820" y="1273221"/>
            <a:ext cx="11446493" cy="4215792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00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000">
              <a:lnSpc>
                <a:spcPct val="90000"/>
              </a:lnSpc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90000"/>
              </a:lnSpc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9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/>
              <a:t>Edit Master text styles, 24pt</a:t>
            </a:r>
          </a:p>
          <a:p>
            <a:pPr lvl="1"/>
            <a:r>
              <a:rPr lang="en-US"/>
              <a:t>Second level, 22pt</a:t>
            </a:r>
          </a:p>
          <a:p>
            <a:pPr lvl="2"/>
            <a:r>
              <a:rPr lang="en-US"/>
              <a:t>Third level, 20pt</a:t>
            </a:r>
          </a:p>
          <a:p>
            <a:pPr lvl="3"/>
            <a:r>
              <a:rPr lang="en-US"/>
              <a:t>Fourth level, 18pt</a:t>
            </a:r>
          </a:p>
          <a:p>
            <a:pPr lvl="4"/>
            <a:r>
              <a:rPr lang="en-US"/>
              <a:t>Fifth level, 16pt</a:t>
            </a:r>
          </a:p>
        </p:txBody>
      </p:sp>
    </p:spTree>
    <p:extLst>
      <p:ext uri="{BB962C8B-B14F-4D97-AF65-F5344CB8AC3E}">
        <p14:creationId xmlns:p14="http://schemas.microsoft.com/office/powerpoint/2010/main" val="403124709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A32055D6-B48C-46FA-A045-DB6BE9C2CC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5" cy="40357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lnSpc>
                <a:spcPct val="8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7FEF3665-9532-432B-9E9B-228B902CD51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6315668" y="1273221"/>
            <a:ext cx="5489645" cy="4215793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00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000">
              <a:lnSpc>
                <a:spcPct val="90000"/>
              </a:lnSpc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90000"/>
              </a:lnSpc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9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/>
              <a:t>Edit Master text styles, 24pt</a:t>
            </a:r>
          </a:p>
          <a:p>
            <a:pPr lvl="1"/>
            <a:r>
              <a:rPr lang="en-US"/>
              <a:t>Second level, 22pt</a:t>
            </a:r>
          </a:p>
          <a:p>
            <a:pPr lvl="2"/>
            <a:r>
              <a:rPr lang="en-US"/>
              <a:t>Third level, 20pt</a:t>
            </a:r>
          </a:p>
          <a:p>
            <a:pPr lvl="3"/>
            <a:r>
              <a:rPr lang="en-US"/>
              <a:t>Fourth level, 18pt</a:t>
            </a:r>
          </a:p>
          <a:p>
            <a:pPr lvl="4"/>
            <a:r>
              <a:rPr lang="en-US"/>
              <a:t>Fifth level, 16pt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025DCC0C-150D-4DAD-A90F-682DEF544D20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58820" y="1273221"/>
            <a:ext cx="5489645" cy="4215792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00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000">
              <a:lnSpc>
                <a:spcPct val="90000"/>
              </a:lnSpc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90000"/>
              </a:lnSpc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9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/>
              <a:t>Edit Master text styles, 24pt</a:t>
            </a:r>
          </a:p>
          <a:p>
            <a:pPr lvl="1"/>
            <a:r>
              <a:rPr lang="en-US"/>
              <a:t>Second level, 22pt</a:t>
            </a:r>
          </a:p>
          <a:p>
            <a:pPr lvl="2"/>
            <a:r>
              <a:rPr lang="en-US"/>
              <a:t>Third level, 20pt</a:t>
            </a:r>
          </a:p>
          <a:p>
            <a:pPr lvl="3"/>
            <a:r>
              <a:rPr lang="en-US"/>
              <a:t>Fourth level, 18pt</a:t>
            </a:r>
          </a:p>
          <a:p>
            <a:pPr lvl="4"/>
            <a:r>
              <a:rPr lang="en-US"/>
              <a:t>Fifth level, 16pt</a:t>
            </a:r>
          </a:p>
        </p:txBody>
      </p:sp>
    </p:spTree>
    <p:extLst>
      <p:ext uri="{BB962C8B-B14F-4D97-AF65-F5344CB8AC3E}">
        <p14:creationId xmlns:p14="http://schemas.microsoft.com/office/powerpoint/2010/main" val="19538140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+ 5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3848099"/>
            <a:ext cx="8382000" cy="1257301"/>
          </a:xfrm>
        </p:spPr>
        <p:txBody>
          <a:bodyPr tIns="0" anchor="t"/>
          <a:lstStyle>
            <a:lvl1pPr>
              <a:lnSpc>
                <a:spcPct val="80000"/>
              </a:lnSpc>
              <a:defRPr sz="44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299" y="5105400"/>
            <a:ext cx="8381999" cy="1257301"/>
          </a:xfrm>
        </p:spPr>
        <p:txBody>
          <a:bodyPr tIns="18288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7546317B-3751-4D87-BA2D-3B5F5976195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6237" y="6528244"/>
            <a:ext cx="1143000" cy="213769"/>
          </a:xfrm>
          <a:prstGeom prst="rect">
            <a:avLst/>
          </a:prstGeom>
        </p:spPr>
      </p:pic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AAC5B92-BD5C-40B8-8837-AA1A4971E6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Picture Placeholder 10">
            <a:extLst>
              <a:ext uri="{FF2B5EF4-FFF2-40B4-BE49-F238E27FC236}">
                <a16:creationId xmlns:a16="http://schemas.microsoft.com/office/drawing/2014/main" id="{80D7819A-630E-44DC-929F-93349077483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448189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86C7584E-D951-44B3-B6A7-50BBD18EEA0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896378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2B80078C-A569-4E2A-801C-5381A518F10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792756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83DF5146-688C-4FB5-8042-A8DDBF6B622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344567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2130241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16">
          <p15:clr>
            <a:srgbClr val="FBAE40"/>
          </p15:clr>
        </p15:guide>
        <p15:guide id="2" pos="5592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+ Pic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A67C88C3-29C3-4638-9D18-19985AD9E2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5" cy="40357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lnSpc>
                <a:spcPct val="8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D3A09D0-780E-4D5B-9D0F-5C53FFAEBF7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1" y="1273220"/>
            <a:ext cx="5372100" cy="4215793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82D6B39E-299F-4BEA-9815-5FE397940D2C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58820" y="1273221"/>
            <a:ext cx="5489645" cy="4215792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00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000">
              <a:lnSpc>
                <a:spcPct val="90000"/>
              </a:lnSpc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90000"/>
              </a:lnSpc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9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/>
              <a:t>Edit Master text styles, 24pt</a:t>
            </a:r>
          </a:p>
          <a:p>
            <a:pPr lvl="1"/>
            <a:r>
              <a:rPr lang="en-US"/>
              <a:t>Second level, 22pt</a:t>
            </a:r>
          </a:p>
          <a:p>
            <a:pPr lvl="2"/>
            <a:r>
              <a:rPr lang="en-US"/>
              <a:t>Third level, 20pt</a:t>
            </a:r>
          </a:p>
          <a:p>
            <a:pPr lvl="3"/>
            <a:r>
              <a:rPr lang="en-US"/>
              <a:t>Fourth level, 18pt</a:t>
            </a:r>
          </a:p>
          <a:p>
            <a:pPr lvl="4"/>
            <a:r>
              <a:rPr lang="en-US"/>
              <a:t>Fifth level, 16pt</a:t>
            </a:r>
          </a:p>
        </p:txBody>
      </p:sp>
    </p:spTree>
    <p:extLst>
      <p:ext uri="{BB962C8B-B14F-4D97-AF65-F5344CB8AC3E}">
        <p14:creationId xmlns:p14="http://schemas.microsoft.com/office/powerpoint/2010/main" val="35522438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+ Pics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90E6779-1215-4847-8188-57330BEA8D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5" cy="40357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lnSpc>
                <a:spcPct val="8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F1831C0D-18F8-431C-9AB1-31C8DF298A6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8819" y="1300516"/>
            <a:ext cx="5489645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A62B049B-F84A-40BB-903F-2DBF6554F1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15668" y="1300516"/>
            <a:ext cx="5489645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B5C180D-DA9F-44AA-B979-74E0F6F1F23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315668" y="3807725"/>
            <a:ext cx="5489645" cy="1681288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00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000">
              <a:lnSpc>
                <a:spcPct val="90000"/>
              </a:lnSpc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90000"/>
              </a:lnSpc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9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/>
              <a:t>Edit Master text styles, 24pt</a:t>
            </a:r>
          </a:p>
          <a:p>
            <a:pPr lvl="1"/>
            <a:r>
              <a:rPr lang="en-US"/>
              <a:t>Second level, 22pt</a:t>
            </a:r>
          </a:p>
          <a:p>
            <a:pPr lvl="2"/>
            <a:r>
              <a:rPr lang="en-US"/>
              <a:t>Third level, 20pt</a:t>
            </a:r>
          </a:p>
          <a:p>
            <a:pPr lvl="3"/>
            <a:r>
              <a:rPr lang="en-US"/>
              <a:t>Fourth level, 18pt</a:t>
            </a:r>
          </a:p>
          <a:p>
            <a:pPr lvl="4"/>
            <a:r>
              <a:rPr lang="en-US"/>
              <a:t>Fifth level, 16p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7923579-8C72-48FD-B7DA-4C828FF25683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58820" y="3807725"/>
            <a:ext cx="5489645" cy="1681288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00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000">
              <a:lnSpc>
                <a:spcPct val="90000"/>
              </a:lnSpc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90000"/>
              </a:lnSpc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9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/>
              <a:t>Edit Master text styles, 24pt</a:t>
            </a:r>
          </a:p>
          <a:p>
            <a:pPr lvl="1"/>
            <a:r>
              <a:rPr lang="en-US"/>
              <a:t>Second level, 22pt</a:t>
            </a:r>
          </a:p>
          <a:p>
            <a:pPr lvl="2"/>
            <a:r>
              <a:rPr lang="en-US"/>
              <a:t>Third level, 20pt</a:t>
            </a:r>
          </a:p>
          <a:p>
            <a:pPr lvl="3"/>
            <a:r>
              <a:rPr lang="en-US"/>
              <a:t>Fourth level, 18pt</a:t>
            </a:r>
          </a:p>
          <a:p>
            <a:pPr lvl="4"/>
            <a:r>
              <a:rPr lang="en-US"/>
              <a:t>Fifth level, 16pt</a:t>
            </a:r>
          </a:p>
        </p:txBody>
      </p:sp>
    </p:spTree>
    <p:extLst>
      <p:ext uri="{BB962C8B-B14F-4D97-AF65-F5344CB8AC3E}">
        <p14:creationId xmlns:p14="http://schemas.microsoft.com/office/powerpoint/2010/main" val="36436967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  <p15:guide id="4" orient="horz" pos="2448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0102B6B0-9C58-48D4-B12C-9ED8676D5E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5" cy="40357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lnSpc>
                <a:spcPct val="8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29B8EF5-5AFA-49C1-88CD-8F699CD18CB3}"/>
              </a:ext>
            </a:extLst>
          </p:cNvPr>
          <p:cNvGrpSpPr/>
          <p:nvPr userDrawn="1"/>
        </p:nvGrpSpPr>
        <p:grpSpPr>
          <a:xfrm>
            <a:off x="4098325" y="1300517"/>
            <a:ext cx="4004515" cy="4344840"/>
            <a:chOff x="4125621" y="1410880"/>
            <a:chExt cx="4004515" cy="4462273"/>
          </a:xfrm>
        </p:grpSpPr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6D9CC082-3CCF-417C-9B37-D2DD6DCBDB9D}"/>
                </a:ext>
              </a:extLst>
            </p:cNvPr>
            <p:cNvCxnSpPr/>
            <p:nvPr userDrawn="1"/>
          </p:nvCxnSpPr>
          <p:spPr>
            <a:xfrm>
              <a:off x="4125621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B76CA473-7615-4CAC-88BE-44144D4FF0AD}"/>
                </a:ext>
              </a:extLst>
            </p:cNvPr>
            <p:cNvCxnSpPr/>
            <p:nvPr userDrawn="1"/>
          </p:nvCxnSpPr>
          <p:spPr>
            <a:xfrm>
              <a:off x="8130136" y="1410881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A3530F1A-C354-49D5-A637-2B1BAE890EC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58822" y="1300519"/>
            <a:ext cx="3450037" cy="4344838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00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000">
              <a:lnSpc>
                <a:spcPct val="90000"/>
              </a:lnSpc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90000"/>
              </a:lnSpc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9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/>
              <a:t>Edit Master text styles, 24pt</a:t>
            </a:r>
          </a:p>
          <a:p>
            <a:pPr lvl="1"/>
            <a:r>
              <a:rPr lang="en-US"/>
              <a:t>Second level, 22pt</a:t>
            </a:r>
          </a:p>
          <a:p>
            <a:pPr lvl="2"/>
            <a:r>
              <a:rPr lang="en-US"/>
              <a:t>Third level, 20pt</a:t>
            </a:r>
          </a:p>
          <a:p>
            <a:pPr lvl="3"/>
            <a:r>
              <a:rPr lang="en-US"/>
              <a:t>Fourth level, 18pt</a:t>
            </a:r>
          </a:p>
          <a:p>
            <a:pPr lvl="4"/>
            <a:r>
              <a:rPr lang="en-US"/>
              <a:t>Fifth level, 16pt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607A8C85-772A-4F74-A86F-3482A098CC09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402539" y="1300519"/>
            <a:ext cx="3429000" cy="4344838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00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000">
              <a:lnSpc>
                <a:spcPct val="90000"/>
              </a:lnSpc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90000"/>
              </a:lnSpc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9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/>
              <a:t>Edit Master text styles, 24pt</a:t>
            </a:r>
          </a:p>
          <a:p>
            <a:pPr lvl="1"/>
            <a:r>
              <a:rPr lang="en-US"/>
              <a:t>Second level, 22pt</a:t>
            </a:r>
          </a:p>
          <a:p>
            <a:pPr lvl="2"/>
            <a:r>
              <a:rPr lang="en-US"/>
              <a:t>Third level, 20pt</a:t>
            </a:r>
          </a:p>
          <a:p>
            <a:pPr lvl="3"/>
            <a:r>
              <a:rPr lang="en-US"/>
              <a:t>Fourth level, 18pt</a:t>
            </a:r>
          </a:p>
          <a:p>
            <a:pPr lvl="4"/>
            <a:r>
              <a:rPr lang="en-US"/>
              <a:t>Fifth level, 16pt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9197AF32-F35A-4EFE-AE46-C99C97A737A3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355274" y="1300519"/>
            <a:ext cx="3450039" cy="4344838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00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000">
              <a:lnSpc>
                <a:spcPct val="90000"/>
              </a:lnSpc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90000"/>
              </a:lnSpc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9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/>
              <a:t>Edit Master text styles, 24pt</a:t>
            </a:r>
          </a:p>
          <a:p>
            <a:pPr lvl="1"/>
            <a:r>
              <a:rPr lang="en-US"/>
              <a:t>Second level, 22pt</a:t>
            </a:r>
          </a:p>
          <a:p>
            <a:pPr lvl="2"/>
            <a:r>
              <a:rPr lang="en-US"/>
              <a:t>Third level, 20pt</a:t>
            </a:r>
          </a:p>
          <a:p>
            <a:pPr lvl="3"/>
            <a:r>
              <a:rPr lang="en-US"/>
              <a:t>Fourth level, 18pt</a:t>
            </a:r>
          </a:p>
          <a:p>
            <a:pPr lvl="4"/>
            <a:r>
              <a:rPr lang="en-US"/>
              <a:t>Fifth level, 16pt</a:t>
            </a:r>
          </a:p>
        </p:txBody>
      </p:sp>
    </p:spTree>
    <p:extLst>
      <p:ext uri="{BB962C8B-B14F-4D97-AF65-F5344CB8AC3E}">
        <p14:creationId xmlns:p14="http://schemas.microsoft.com/office/powerpoint/2010/main" val="2203471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+ Pics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CF918C0-6EF6-4029-BAA3-0797ADF27E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5" cy="40357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lnSpc>
                <a:spcPct val="8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88525126-748E-4DF9-9F30-7EF534BA5F9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58819" y="127322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B35F44D5-8BF3-459E-BB96-F4AFD54855B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81500" y="127322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95263858-2864-4550-A64C-2D9719E114B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376313" y="127322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5371FB6A-3586-41A3-BF59-A8DC71DAB7EA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58822" y="3766782"/>
            <a:ext cx="3450037" cy="1722231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00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000">
              <a:lnSpc>
                <a:spcPct val="90000"/>
              </a:lnSpc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90000"/>
              </a:lnSpc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9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/>
              <a:t>Edit Master text styles, 24pt</a:t>
            </a:r>
          </a:p>
          <a:p>
            <a:pPr lvl="1"/>
            <a:r>
              <a:rPr lang="en-US"/>
              <a:t>Second level, 22pt</a:t>
            </a:r>
          </a:p>
          <a:p>
            <a:pPr lvl="2"/>
            <a:r>
              <a:rPr lang="en-US"/>
              <a:t>Third level, 20pt</a:t>
            </a:r>
          </a:p>
          <a:p>
            <a:pPr lvl="3"/>
            <a:r>
              <a:rPr lang="en-US"/>
              <a:t>Fourth level, 18pt</a:t>
            </a:r>
          </a:p>
          <a:p>
            <a:pPr lvl="4"/>
            <a:r>
              <a:rPr lang="en-US"/>
              <a:t>Fifth level, 16p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061BE314-3234-4EC6-9BB9-4003B4474687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402539" y="3766782"/>
            <a:ext cx="3429000" cy="1722231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00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000">
              <a:lnSpc>
                <a:spcPct val="90000"/>
              </a:lnSpc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90000"/>
              </a:lnSpc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9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/>
              <a:t>Edit Master text styles, 24pt</a:t>
            </a:r>
          </a:p>
          <a:p>
            <a:pPr lvl="1"/>
            <a:r>
              <a:rPr lang="en-US"/>
              <a:t>Second level, 22pt</a:t>
            </a:r>
          </a:p>
          <a:p>
            <a:pPr lvl="2"/>
            <a:r>
              <a:rPr lang="en-US"/>
              <a:t>Third level, 20pt</a:t>
            </a:r>
          </a:p>
          <a:p>
            <a:pPr lvl="3"/>
            <a:r>
              <a:rPr lang="en-US"/>
              <a:t>Fourth level, 18pt</a:t>
            </a:r>
          </a:p>
          <a:p>
            <a:pPr lvl="4"/>
            <a:r>
              <a:rPr lang="en-US"/>
              <a:t>Fifth level, 16pt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318DBAE-9453-4F82-BE8D-06765DCFFCD9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355274" y="3766782"/>
            <a:ext cx="3450039" cy="1722231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00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000">
              <a:lnSpc>
                <a:spcPct val="90000"/>
              </a:lnSpc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90000"/>
              </a:lnSpc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9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/>
              <a:t>Edit Master text styles, 24pt</a:t>
            </a:r>
          </a:p>
          <a:p>
            <a:pPr lvl="1"/>
            <a:r>
              <a:rPr lang="en-US"/>
              <a:t>Second level, 22pt</a:t>
            </a:r>
          </a:p>
          <a:p>
            <a:pPr lvl="2"/>
            <a:r>
              <a:rPr lang="en-US"/>
              <a:t>Third level, 20pt</a:t>
            </a:r>
          </a:p>
          <a:p>
            <a:pPr lvl="3"/>
            <a:r>
              <a:rPr lang="en-US"/>
              <a:t>Fourth level, 18pt</a:t>
            </a:r>
          </a:p>
          <a:p>
            <a:pPr lvl="4"/>
            <a:r>
              <a:rPr lang="en-US"/>
              <a:t>Fifth level, 16pt</a:t>
            </a:r>
          </a:p>
        </p:txBody>
      </p:sp>
    </p:spTree>
    <p:extLst>
      <p:ext uri="{BB962C8B-B14F-4D97-AF65-F5344CB8AC3E}">
        <p14:creationId xmlns:p14="http://schemas.microsoft.com/office/powerpoint/2010/main" val="35243319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48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B4F01B85-905E-431F-9B6C-E53ACC7ECE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5" cy="40357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lnSpc>
                <a:spcPct val="8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74C9A9ED-4201-4B53-BFA8-CD7BF325DFB3}"/>
              </a:ext>
            </a:extLst>
          </p:cNvPr>
          <p:cNvGrpSpPr/>
          <p:nvPr userDrawn="1"/>
        </p:nvGrpSpPr>
        <p:grpSpPr>
          <a:xfrm>
            <a:off x="3086601" y="1274400"/>
            <a:ext cx="5991652" cy="4344686"/>
            <a:chOff x="3127545" y="1410880"/>
            <a:chExt cx="5991652" cy="4462272"/>
          </a:xfrm>
        </p:grpSpPr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687CB45E-AA2A-4376-B950-DB2900EFCCC7}"/>
                </a:ext>
              </a:extLst>
            </p:cNvPr>
            <p:cNvCxnSpPr/>
            <p:nvPr userDrawn="1"/>
          </p:nvCxnSpPr>
          <p:spPr>
            <a:xfrm>
              <a:off x="3127545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5490B509-8F7D-4DCF-9CD7-C971511D66FC}"/>
                </a:ext>
              </a:extLst>
            </p:cNvPr>
            <p:cNvCxnSpPr/>
            <p:nvPr userDrawn="1"/>
          </p:nvCxnSpPr>
          <p:spPr>
            <a:xfrm>
              <a:off x="6123371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CAE712D0-5FC9-4D8B-B36E-BC242C1C4624}"/>
                </a:ext>
              </a:extLst>
            </p:cNvPr>
            <p:cNvCxnSpPr/>
            <p:nvPr userDrawn="1"/>
          </p:nvCxnSpPr>
          <p:spPr>
            <a:xfrm>
              <a:off x="9119197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B6C6CDC3-80D5-48E2-9632-1914D89FAC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58822" y="1300518"/>
            <a:ext cx="2466609" cy="4344837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00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000">
              <a:lnSpc>
                <a:spcPct val="90000"/>
              </a:lnSpc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90000"/>
              </a:lnSpc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9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/>
              <a:t>Edit Master text styles, 24pt</a:t>
            </a:r>
          </a:p>
          <a:p>
            <a:pPr lvl="1"/>
            <a:r>
              <a:rPr lang="en-US"/>
              <a:t>Second level, 22pt</a:t>
            </a:r>
          </a:p>
          <a:p>
            <a:pPr lvl="2"/>
            <a:r>
              <a:rPr lang="en-US"/>
              <a:t>Third level, 20pt</a:t>
            </a:r>
          </a:p>
          <a:p>
            <a:pPr lvl="3"/>
            <a:r>
              <a:rPr lang="en-US"/>
              <a:t>Fourth level, 18pt</a:t>
            </a:r>
          </a:p>
          <a:p>
            <a:pPr lvl="4"/>
            <a:r>
              <a:rPr lang="en-US"/>
              <a:t>Fifth level, 16pt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AD14BC28-600A-4E9C-A9F3-CB37793FC02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338705" y="1300518"/>
            <a:ext cx="2466609" cy="4344837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00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000">
              <a:lnSpc>
                <a:spcPct val="90000"/>
              </a:lnSpc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90000"/>
              </a:lnSpc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9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/>
              <a:t>Edit Master text styles, 24pt</a:t>
            </a:r>
          </a:p>
          <a:p>
            <a:pPr lvl="1"/>
            <a:r>
              <a:rPr lang="en-US"/>
              <a:t>Second level, 22pt</a:t>
            </a:r>
          </a:p>
          <a:p>
            <a:pPr lvl="2"/>
            <a:r>
              <a:rPr lang="en-US"/>
              <a:t>Third level, 20pt</a:t>
            </a:r>
          </a:p>
          <a:p>
            <a:pPr lvl="3"/>
            <a:r>
              <a:rPr lang="en-US"/>
              <a:t>Fourth level, 18pt</a:t>
            </a:r>
          </a:p>
          <a:p>
            <a:pPr lvl="4"/>
            <a:r>
              <a:rPr lang="en-US"/>
              <a:t>Fifth level, 16pt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CA03C11D-F6C1-4FA7-8D97-050BCF80AD3D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3352117" y="1300518"/>
            <a:ext cx="2466609" cy="4344837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00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000">
              <a:lnSpc>
                <a:spcPct val="90000"/>
              </a:lnSpc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90000"/>
              </a:lnSpc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9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/>
              <a:t>Edit Master text styles, 24pt</a:t>
            </a:r>
          </a:p>
          <a:p>
            <a:pPr lvl="1"/>
            <a:r>
              <a:rPr lang="en-US"/>
              <a:t>Second level, 22pt</a:t>
            </a:r>
          </a:p>
          <a:p>
            <a:pPr lvl="2"/>
            <a:r>
              <a:rPr lang="en-US"/>
              <a:t>Third level, 20pt</a:t>
            </a:r>
          </a:p>
          <a:p>
            <a:pPr lvl="3"/>
            <a:r>
              <a:rPr lang="en-US"/>
              <a:t>Fourth level, 18pt</a:t>
            </a:r>
          </a:p>
          <a:p>
            <a:pPr lvl="4"/>
            <a:r>
              <a:rPr lang="en-US"/>
              <a:t>Fifth level, 16pt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FCA31FE9-4B35-4EB7-8ACB-9A295F7C1EA2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6345411" y="1300518"/>
            <a:ext cx="2466609" cy="4344837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00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000">
              <a:lnSpc>
                <a:spcPct val="90000"/>
              </a:lnSpc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90000"/>
              </a:lnSpc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9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/>
              <a:t>Edit Master text styles, 24pt</a:t>
            </a:r>
          </a:p>
          <a:p>
            <a:pPr lvl="1"/>
            <a:r>
              <a:rPr lang="en-US"/>
              <a:t>Second level, 22pt</a:t>
            </a:r>
          </a:p>
          <a:p>
            <a:pPr lvl="2"/>
            <a:r>
              <a:rPr lang="en-US"/>
              <a:t>Third level, 20pt</a:t>
            </a:r>
          </a:p>
          <a:p>
            <a:pPr lvl="3"/>
            <a:r>
              <a:rPr lang="en-US"/>
              <a:t>Fourth level, 18pt</a:t>
            </a:r>
          </a:p>
          <a:p>
            <a:pPr lvl="4"/>
            <a:r>
              <a:rPr lang="en-US"/>
              <a:t>Fifth level, 16pt</a:t>
            </a:r>
          </a:p>
        </p:txBody>
      </p:sp>
    </p:spTree>
    <p:extLst>
      <p:ext uri="{BB962C8B-B14F-4D97-AF65-F5344CB8AC3E}">
        <p14:creationId xmlns:p14="http://schemas.microsoft.com/office/powerpoint/2010/main" val="8414340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+ Pics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87232A8A-59D2-4728-95ED-25BA5B08B2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5" cy="40357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lnSpc>
                <a:spcPct val="8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334EDB37-A223-47C2-822F-63992472262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8819" y="1273220"/>
            <a:ext cx="2459039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C6B70F7C-53F9-479A-AF07-7764900063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54638" y="1273220"/>
            <a:ext cx="2459039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07D4BF50-0E89-4AF7-AFFA-2486AD357765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350458" y="1273220"/>
            <a:ext cx="2459039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B13A2EAF-8540-4CB8-916F-A84716A7C2E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346275" y="1273220"/>
            <a:ext cx="2459039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5708D57C-7AF7-4F99-94EB-9D0493877BB6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358822" y="3472937"/>
            <a:ext cx="2466609" cy="2111844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00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000">
              <a:lnSpc>
                <a:spcPct val="90000"/>
              </a:lnSpc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90000"/>
              </a:lnSpc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9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/>
              <a:t>Edit Master text styles, 24pt</a:t>
            </a:r>
          </a:p>
          <a:p>
            <a:pPr lvl="1"/>
            <a:r>
              <a:rPr lang="en-US"/>
              <a:t>Second level, 22pt</a:t>
            </a:r>
          </a:p>
          <a:p>
            <a:pPr lvl="2"/>
            <a:r>
              <a:rPr lang="en-US"/>
              <a:t>Third level, 20pt</a:t>
            </a:r>
          </a:p>
          <a:p>
            <a:pPr lvl="3"/>
            <a:r>
              <a:rPr lang="en-US"/>
              <a:t>Fourth level, 18pt</a:t>
            </a:r>
          </a:p>
          <a:p>
            <a:pPr lvl="4"/>
            <a:r>
              <a:rPr lang="en-US"/>
              <a:t>Fifth level, 16pt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84E02FC2-8C6F-47A0-829C-EE80395E8F41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338705" y="3472937"/>
            <a:ext cx="2466609" cy="2111844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00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000">
              <a:lnSpc>
                <a:spcPct val="90000"/>
              </a:lnSpc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90000"/>
              </a:lnSpc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9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/>
              <a:t>Edit Master text styles, 24pt</a:t>
            </a:r>
          </a:p>
          <a:p>
            <a:pPr lvl="1"/>
            <a:r>
              <a:rPr lang="en-US"/>
              <a:t>Second level, 22pt</a:t>
            </a:r>
          </a:p>
          <a:p>
            <a:pPr lvl="2"/>
            <a:r>
              <a:rPr lang="en-US"/>
              <a:t>Third level, 20pt</a:t>
            </a:r>
          </a:p>
          <a:p>
            <a:pPr lvl="3"/>
            <a:r>
              <a:rPr lang="en-US"/>
              <a:t>Fourth level, 18pt</a:t>
            </a:r>
          </a:p>
          <a:p>
            <a:pPr lvl="4"/>
            <a:r>
              <a:rPr lang="en-US"/>
              <a:t>Fifth level, 16pt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7E4A1903-FEA0-4239-98D1-7F32E7E41FE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3352117" y="3472937"/>
            <a:ext cx="2466609" cy="2111844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00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000">
              <a:lnSpc>
                <a:spcPct val="90000"/>
              </a:lnSpc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90000"/>
              </a:lnSpc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9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/>
              <a:t>Edit Master text styles, 24pt</a:t>
            </a:r>
          </a:p>
          <a:p>
            <a:pPr lvl="1"/>
            <a:r>
              <a:rPr lang="en-US"/>
              <a:t>Second level, 22pt</a:t>
            </a:r>
          </a:p>
          <a:p>
            <a:pPr lvl="2"/>
            <a:r>
              <a:rPr lang="en-US"/>
              <a:t>Third level, 20pt</a:t>
            </a:r>
          </a:p>
          <a:p>
            <a:pPr lvl="3"/>
            <a:r>
              <a:rPr lang="en-US"/>
              <a:t>Fourth level, 18pt</a:t>
            </a:r>
          </a:p>
          <a:p>
            <a:pPr lvl="4"/>
            <a:r>
              <a:rPr lang="en-US"/>
              <a:t>Fifth level, 16pt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55F4B652-D86D-49BA-BC4B-C3AD3B01909A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6345411" y="3472937"/>
            <a:ext cx="2466609" cy="2111844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00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000">
              <a:lnSpc>
                <a:spcPct val="90000"/>
              </a:lnSpc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90000"/>
              </a:lnSpc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9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/>
              <a:t>Edit Master text styles, 24pt</a:t>
            </a:r>
          </a:p>
          <a:p>
            <a:pPr lvl="1"/>
            <a:r>
              <a:rPr lang="en-US"/>
              <a:t>Second level, 22pt</a:t>
            </a:r>
          </a:p>
          <a:p>
            <a:pPr lvl="2"/>
            <a:r>
              <a:rPr lang="en-US"/>
              <a:t>Third level, 20pt</a:t>
            </a:r>
          </a:p>
          <a:p>
            <a:pPr lvl="3"/>
            <a:r>
              <a:rPr lang="en-US"/>
              <a:t>Fourth level, 18pt</a:t>
            </a:r>
          </a:p>
          <a:p>
            <a:pPr lvl="4"/>
            <a:r>
              <a:rPr lang="en-US"/>
              <a:t>Fifth level, 16pt</a:t>
            </a:r>
          </a:p>
        </p:txBody>
      </p:sp>
    </p:spTree>
    <p:extLst>
      <p:ext uri="{BB962C8B-B14F-4D97-AF65-F5344CB8AC3E}">
        <p14:creationId xmlns:p14="http://schemas.microsoft.com/office/powerpoint/2010/main" val="19279781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2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39A8CD4-AE36-4E1C-A94A-232D6052FD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5" cy="40357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lnSpc>
                <a:spcPct val="8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8F159359-0EBA-4A29-B2E4-CEBF42D0EBEF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358822" y="1233691"/>
            <a:ext cx="5540420" cy="2119086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00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000">
              <a:lnSpc>
                <a:spcPct val="90000"/>
              </a:lnSpc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90000"/>
              </a:lnSpc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9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/>
              <a:t>Edit Master text styles, 24pt</a:t>
            </a:r>
          </a:p>
          <a:p>
            <a:pPr lvl="1"/>
            <a:r>
              <a:rPr lang="en-US"/>
              <a:t>Second level, 22pt</a:t>
            </a:r>
          </a:p>
          <a:p>
            <a:pPr lvl="2"/>
            <a:r>
              <a:rPr lang="en-US"/>
              <a:t>Third level, 20pt</a:t>
            </a:r>
          </a:p>
          <a:p>
            <a:pPr lvl="3"/>
            <a:r>
              <a:rPr lang="en-US"/>
              <a:t>Fourth level, 18pt</a:t>
            </a:r>
          </a:p>
          <a:p>
            <a:pPr lvl="4"/>
            <a:r>
              <a:rPr lang="en-US"/>
              <a:t>Fifth level, 16pt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716B8B7E-EF57-4DD0-B0B8-660220B32DD9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358822" y="3505224"/>
            <a:ext cx="5540420" cy="2119086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00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000">
              <a:lnSpc>
                <a:spcPct val="90000"/>
              </a:lnSpc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90000"/>
              </a:lnSpc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9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/>
              <a:t>Edit Master text styles, 24pt</a:t>
            </a:r>
          </a:p>
          <a:p>
            <a:pPr lvl="1"/>
            <a:r>
              <a:rPr lang="en-US"/>
              <a:t>Second level, 22pt</a:t>
            </a:r>
          </a:p>
          <a:p>
            <a:pPr lvl="2"/>
            <a:r>
              <a:rPr lang="en-US"/>
              <a:t>Third level, 20pt</a:t>
            </a:r>
          </a:p>
          <a:p>
            <a:pPr lvl="3"/>
            <a:r>
              <a:rPr lang="en-US"/>
              <a:t>Fourth level, 18pt</a:t>
            </a:r>
          </a:p>
          <a:p>
            <a:pPr lvl="4"/>
            <a:r>
              <a:rPr lang="en-US"/>
              <a:t>Fifth level, 16pt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60F5F313-AC98-44AB-BC67-23FC052F8E7D}"/>
              </a:ext>
            </a:extLst>
          </p:cNvPr>
          <p:cNvSpPr>
            <a:spLocks noGrp="1"/>
          </p:cNvSpPr>
          <p:nvPr>
            <p:ph idx="30" hasCustomPrompt="1"/>
          </p:nvPr>
        </p:nvSpPr>
        <p:spPr>
          <a:xfrm>
            <a:off x="6264894" y="1233691"/>
            <a:ext cx="5540420" cy="2119086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00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000">
              <a:lnSpc>
                <a:spcPct val="90000"/>
              </a:lnSpc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90000"/>
              </a:lnSpc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9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/>
              <a:t>Edit Master text styles, 24pt</a:t>
            </a:r>
          </a:p>
          <a:p>
            <a:pPr lvl="1"/>
            <a:r>
              <a:rPr lang="en-US"/>
              <a:t>Second level, 22pt</a:t>
            </a:r>
          </a:p>
          <a:p>
            <a:pPr lvl="2"/>
            <a:r>
              <a:rPr lang="en-US"/>
              <a:t>Third level, 20pt</a:t>
            </a:r>
          </a:p>
          <a:p>
            <a:pPr lvl="3"/>
            <a:r>
              <a:rPr lang="en-US"/>
              <a:t>Fourth level, 18pt</a:t>
            </a:r>
          </a:p>
          <a:p>
            <a:pPr lvl="4"/>
            <a:r>
              <a:rPr lang="en-US"/>
              <a:t>Fifth level, 16p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B008E751-5B77-4D4A-81A9-9B2E7505302E}"/>
              </a:ext>
            </a:extLst>
          </p:cNvPr>
          <p:cNvSpPr>
            <a:spLocks noGrp="1"/>
          </p:cNvSpPr>
          <p:nvPr>
            <p:ph idx="31" hasCustomPrompt="1"/>
          </p:nvPr>
        </p:nvSpPr>
        <p:spPr>
          <a:xfrm>
            <a:off x="6264894" y="3505224"/>
            <a:ext cx="5540420" cy="2119086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00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000">
              <a:lnSpc>
                <a:spcPct val="90000"/>
              </a:lnSpc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90000"/>
              </a:lnSpc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9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/>
              <a:t>Edit Master text styles, 24pt</a:t>
            </a:r>
          </a:p>
          <a:p>
            <a:pPr lvl="1"/>
            <a:r>
              <a:rPr lang="en-US"/>
              <a:t>Second level, 22pt</a:t>
            </a:r>
          </a:p>
          <a:p>
            <a:pPr lvl="2"/>
            <a:r>
              <a:rPr lang="en-US"/>
              <a:t>Third level, 20pt</a:t>
            </a:r>
          </a:p>
          <a:p>
            <a:pPr lvl="3"/>
            <a:r>
              <a:rPr lang="en-US"/>
              <a:t>Fourth level, 18pt</a:t>
            </a:r>
          </a:p>
          <a:p>
            <a:pPr lvl="4"/>
            <a:r>
              <a:rPr lang="en-US"/>
              <a:t>Fifth level, 16pt</a:t>
            </a:r>
          </a:p>
        </p:txBody>
      </p:sp>
    </p:spTree>
    <p:extLst>
      <p:ext uri="{BB962C8B-B14F-4D97-AF65-F5344CB8AC3E}">
        <p14:creationId xmlns:p14="http://schemas.microsoft.com/office/powerpoint/2010/main" val="26794126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teen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8819" y="1412104"/>
            <a:ext cx="2459736" cy="786384"/>
          </a:xfrm>
        </p:spPr>
        <p:txBody>
          <a:bodyPr/>
          <a:lstStyle>
            <a:lvl1pPr>
              <a:defRPr sz="1200"/>
            </a:lvl1pPr>
            <a:lvl2pPr marL="342000">
              <a:buClrTx/>
              <a:defRPr sz="1200"/>
            </a:lvl2pPr>
            <a:lvl3pPr>
              <a:defRPr sz="900"/>
            </a:lvl3pPr>
            <a:lvl4pPr>
              <a:defRPr sz="825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349991" y="1412104"/>
            <a:ext cx="2459736" cy="786384"/>
          </a:xfrm>
        </p:spPr>
        <p:txBody>
          <a:bodyPr/>
          <a:lstStyle>
            <a:lvl1pPr>
              <a:defRPr sz="1200"/>
            </a:lvl1pPr>
            <a:lvl2pPr>
              <a:buClr>
                <a:schemeClr val="tx1"/>
              </a:buClr>
              <a:defRPr sz="1200"/>
            </a:lvl2pPr>
            <a:lvl3pPr>
              <a:defRPr sz="900"/>
            </a:lvl3pPr>
            <a:lvl4pPr>
              <a:defRPr sz="825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3266E99-6D42-417C-A216-84A2B3B715ED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354595" y="1412104"/>
            <a:ext cx="2459736" cy="786384"/>
          </a:xfrm>
        </p:spPr>
        <p:txBody>
          <a:bodyPr/>
          <a:lstStyle>
            <a:lvl1pPr>
              <a:defRPr sz="1200"/>
            </a:lvl1pPr>
            <a:lvl2pPr>
              <a:buClr>
                <a:schemeClr val="tx1"/>
              </a:buClr>
              <a:defRPr sz="1200"/>
            </a:lvl2pPr>
            <a:lvl3pPr>
              <a:defRPr sz="900"/>
            </a:lvl3pPr>
            <a:lvl4pPr>
              <a:defRPr sz="825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054589B4-7F05-4C7A-A2EE-48FB0A13E0D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9345577" y="1412104"/>
            <a:ext cx="2459736" cy="786384"/>
          </a:xfrm>
        </p:spPr>
        <p:txBody>
          <a:bodyPr/>
          <a:lstStyle>
            <a:lvl1pPr>
              <a:defRPr sz="1200"/>
            </a:lvl1pPr>
            <a:lvl2pPr>
              <a:buClr>
                <a:schemeClr val="tx1"/>
              </a:buClr>
              <a:defRPr sz="1200"/>
            </a:lvl2pPr>
            <a:lvl3pPr>
              <a:defRPr sz="900"/>
            </a:lvl3pPr>
            <a:lvl4pPr>
              <a:defRPr sz="825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7257D68F-E97D-4F92-A3D3-D1503CB5DE64}"/>
              </a:ext>
            </a:extLst>
          </p:cNvPr>
          <p:cNvSpPr>
            <a:spLocks noGrp="1"/>
          </p:cNvSpPr>
          <p:nvPr>
            <p:ph type="chart" sz="quarter" idx="21"/>
          </p:nvPr>
        </p:nvSpPr>
        <p:spPr>
          <a:xfrm>
            <a:off x="358819" y="2634810"/>
            <a:ext cx="2459039" cy="786384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17" name="Chart Placeholder 6">
            <a:extLst>
              <a:ext uri="{FF2B5EF4-FFF2-40B4-BE49-F238E27FC236}">
                <a16:creationId xmlns:a16="http://schemas.microsoft.com/office/drawing/2014/main" id="{3B3B5C6B-85C1-4026-8D2C-B5C2CE44A5D5}"/>
              </a:ext>
            </a:extLst>
          </p:cNvPr>
          <p:cNvSpPr>
            <a:spLocks noGrp="1"/>
          </p:cNvSpPr>
          <p:nvPr>
            <p:ph type="chart" sz="quarter" idx="22"/>
          </p:nvPr>
        </p:nvSpPr>
        <p:spPr>
          <a:xfrm>
            <a:off x="3355294" y="2634810"/>
            <a:ext cx="2459039" cy="786384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18" name="Chart Placeholder 6">
            <a:extLst>
              <a:ext uri="{FF2B5EF4-FFF2-40B4-BE49-F238E27FC236}">
                <a16:creationId xmlns:a16="http://schemas.microsoft.com/office/drawing/2014/main" id="{9950548D-185E-4E8F-ACC1-7147F8753B87}"/>
              </a:ext>
            </a:extLst>
          </p:cNvPr>
          <p:cNvSpPr>
            <a:spLocks noGrp="1"/>
          </p:cNvSpPr>
          <p:nvPr>
            <p:ph type="chart" sz="quarter" idx="23"/>
          </p:nvPr>
        </p:nvSpPr>
        <p:spPr>
          <a:xfrm>
            <a:off x="6350690" y="2634810"/>
            <a:ext cx="2459039" cy="786384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19" name="Chart Placeholder 6">
            <a:extLst>
              <a:ext uri="{FF2B5EF4-FFF2-40B4-BE49-F238E27FC236}">
                <a16:creationId xmlns:a16="http://schemas.microsoft.com/office/drawing/2014/main" id="{E621986D-B207-419E-8DB3-B0A4BB23DA35}"/>
              </a:ext>
            </a:extLst>
          </p:cNvPr>
          <p:cNvSpPr>
            <a:spLocks noGrp="1"/>
          </p:cNvSpPr>
          <p:nvPr>
            <p:ph type="chart" sz="quarter" idx="24"/>
          </p:nvPr>
        </p:nvSpPr>
        <p:spPr>
          <a:xfrm>
            <a:off x="9346275" y="2634810"/>
            <a:ext cx="2459039" cy="786384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0" name="Chart Placeholder 6">
            <a:extLst>
              <a:ext uri="{FF2B5EF4-FFF2-40B4-BE49-F238E27FC236}">
                <a16:creationId xmlns:a16="http://schemas.microsoft.com/office/drawing/2014/main" id="{4F23C499-BF0D-4A23-948D-7CF2255178FF}"/>
              </a:ext>
            </a:extLst>
          </p:cNvPr>
          <p:cNvSpPr>
            <a:spLocks noGrp="1"/>
          </p:cNvSpPr>
          <p:nvPr>
            <p:ph type="chart" sz="quarter" idx="25"/>
          </p:nvPr>
        </p:nvSpPr>
        <p:spPr>
          <a:xfrm>
            <a:off x="358819" y="3857516"/>
            <a:ext cx="2459039" cy="786384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1" name="Chart Placeholder 6">
            <a:extLst>
              <a:ext uri="{FF2B5EF4-FFF2-40B4-BE49-F238E27FC236}">
                <a16:creationId xmlns:a16="http://schemas.microsoft.com/office/drawing/2014/main" id="{86A17512-7EDD-4F1A-A28C-60AEB3A2B060}"/>
              </a:ext>
            </a:extLst>
          </p:cNvPr>
          <p:cNvSpPr>
            <a:spLocks noGrp="1"/>
          </p:cNvSpPr>
          <p:nvPr>
            <p:ph type="chart" sz="quarter" idx="26"/>
          </p:nvPr>
        </p:nvSpPr>
        <p:spPr>
          <a:xfrm>
            <a:off x="3355294" y="3857516"/>
            <a:ext cx="2459039" cy="786384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2" name="Chart Placeholder 6">
            <a:extLst>
              <a:ext uri="{FF2B5EF4-FFF2-40B4-BE49-F238E27FC236}">
                <a16:creationId xmlns:a16="http://schemas.microsoft.com/office/drawing/2014/main" id="{565C587C-501C-4648-B14F-7472AC051890}"/>
              </a:ext>
            </a:extLst>
          </p:cNvPr>
          <p:cNvSpPr>
            <a:spLocks noGrp="1"/>
          </p:cNvSpPr>
          <p:nvPr>
            <p:ph type="chart" sz="quarter" idx="27"/>
          </p:nvPr>
        </p:nvSpPr>
        <p:spPr>
          <a:xfrm>
            <a:off x="6350690" y="3857516"/>
            <a:ext cx="2459039" cy="786384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3" name="Chart Placeholder 6">
            <a:extLst>
              <a:ext uri="{FF2B5EF4-FFF2-40B4-BE49-F238E27FC236}">
                <a16:creationId xmlns:a16="http://schemas.microsoft.com/office/drawing/2014/main" id="{1EA84FC4-84EB-4A41-846C-1EEBF8A54C82}"/>
              </a:ext>
            </a:extLst>
          </p:cNvPr>
          <p:cNvSpPr>
            <a:spLocks noGrp="1"/>
          </p:cNvSpPr>
          <p:nvPr>
            <p:ph type="chart" sz="quarter" idx="28"/>
          </p:nvPr>
        </p:nvSpPr>
        <p:spPr>
          <a:xfrm>
            <a:off x="9346275" y="3857516"/>
            <a:ext cx="2459039" cy="786384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E493A192-DB4B-4874-8D27-F87E6115DB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5" cy="40357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lnSpc>
                <a:spcPct val="8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B367CBA7-D0C0-4A1A-AACE-F6EE92617F49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358819" y="5136011"/>
            <a:ext cx="2459736" cy="786384"/>
          </a:xfrm>
        </p:spPr>
        <p:txBody>
          <a:bodyPr/>
          <a:lstStyle>
            <a:lvl1pPr>
              <a:defRPr sz="1200"/>
            </a:lvl1pPr>
            <a:lvl2pPr>
              <a:buClrTx/>
              <a:defRPr sz="1200"/>
            </a:lvl2pPr>
            <a:lvl3pPr>
              <a:defRPr sz="900"/>
            </a:lvl3pPr>
            <a:lvl4pPr>
              <a:defRPr sz="825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15DA7105-842F-443C-AC21-7D0283D75F09}"/>
              </a:ext>
            </a:extLst>
          </p:cNvPr>
          <p:cNvSpPr>
            <a:spLocks noGrp="1"/>
          </p:cNvSpPr>
          <p:nvPr>
            <p:ph idx="30" hasCustomPrompt="1"/>
          </p:nvPr>
        </p:nvSpPr>
        <p:spPr>
          <a:xfrm>
            <a:off x="6349991" y="5136011"/>
            <a:ext cx="2459736" cy="786384"/>
          </a:xfrm>
        </p:spPr>
        <p:txBody>
          <a:bodyPr/>
          <a:lstStyle>
            <a:lvl1pPr>
              <a:defRPr sz="1200"/>
            </a:lvl1pPr>
            <a:lvl2pPr>
              <a:buClr>
                <a:schemeClr val="tx1"/>
              </a:buClr>
              <a:defRPr sz="1200"/>
            </a:lvl2pPr>
            <a:lvl3pPr>
              <a:defRPr sz="900"/>
            </a:lvl3pPr>
            <a:lvl4pPr>
              <a:defRPr sz="825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5DB9C371-CE51-4E88-82DD-FB8BDB1A8B01}"/>
              </a:ext>
            </a:extLst>
          </p:cNvPr>
          <p:cNvSpPr>
            <a:spLocks noGrp="1"/>
          </p:cNvSpPr>
          <p:nvPr>
            <p:ph idx="31" hasCustomPrompt="1"/>
          </p:nvPr>
        </p:nvSpPr>
        <p:spPr>
          <a:xfrm>
            <a:off x="3354595" y="5136011"/>
            <a:ext cx="2459736" cy="786384"/>
          </a:xfrm>
        </p:spPr>
        <p:txBody>
          <a:bodyPr/>
          <a:lstStyle>
            <a:lvl1pPr>
              <a:defRPr sz="1200"/>
            </a:lvl1pPr>
            <a:lvl2pPr>
              <a:buClr>
                <a:schemeClr val="tx1"/>
              </a:buClr>
              <a:defRPr sz="1200"/>
            </a:lvl2pPr>
            <a:lvl3pPr>
              <a:defRPr sz="900"/>
            </a:lvl3pPr>
            <a:lvl4pPr>
              <a:defRPr sz="825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9B04CBCC-FEC4-4757-9B4C-F765175206F3}"/>
              </a:ext>
            </a:extLst>
          </p:cNvPr>
          <p:cNvSpPr>
            <a:spLocks noGrp="1"/>
          </p:cNvSpPr>
          <p:nvPr>
            <p:ph idx="32" hasCustomPrompt="1"/>
          </p:nvPr>
        </p:nvSpPr>
        <p:spPr>
          <a:xfrm>
            <a:off x="9345577" y="5136011"/>
            <a:ext cx="2459736" cy="786384"/>
          </a:xfrm>
        </p:spPr>
        <p:txBody>
          <a:bodyPr/>
          <a:lstStyle>
            <a:lvl1pPr>
              <a:defRPr sz="1200"/>
            </a:lvl1pPr>
            <a:lvl2pPr>
              <a:buClr>
                <a:schemeClr val="tx1"/>
              </a:buClr>
              <a:defRPr sz="1200"/>
            </a:lvl2pPr>
            <a:lvl3pPr>
              <a:defRPr sz="900"/>
            </a:lvl3pPr>
            <a:lvl4pPr>
              <a:defRPr sz="825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2853862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D08997-B423-407B-B60D-8D5DFC3705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9C493B15-8E3F-4010-B7AA-468E90C2FB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5" cy="40357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lnSpc>
                <a:spcPct val="8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5120984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C549D9-CB0B-4053-B4B8-18A9A6E347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111418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+ Icons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3429001"/>
            <a:ext cx="8382000" cy="1447799"/>
          </a:xfrm>
        </p:spPr>
        <p:txBody>
          <a:bodyPr tIns="0" anchor="t"/>
          <a:lstStyle>
            <a:lvl1pPr>
              <a:lnSpc>
                <a:spcPct val="80000"/>
              </a:lnSpc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4876800"/>
            <a:ext cx="8382000" cy="1485901"/>
          </a:xfrm>
        </p:spPr>
        <p:txBody>
          <a:bodyPr tIns="182880"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CAB2A323-0749-4F5A-9A71-D373C17ED9C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6237" y="6528244"/>
            <a:ext cx="1143000" cy="213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80777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72" userDrawn="1">
          <p15:clr>
            <a:srgbClr val="FBAE40"/>
          </p15:clr>
        </p15:guide>
        <p15:guide id="2" pos="5592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XL Content Gray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95299" y="495302"/>
            <a:ext cx="6096000" cy="1467133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lnSpc>
                <a:spcPct val="70000"/>
              </a:lnSpc>
            </a:pPr>
            <a:r>
              <a:rPr kumimoji="0" lang="en-US" sz="6600" b="0" i="0" u="none" strike="noStrike" kern="1200" cap="all" spc="-225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THANK</a:t>
            </a:r>
            <a:br>
              <a:rPr kumimoji="0" lang="en-US" sz="6600" b="0" i="0" u="none" strike="noStrike" kern="1200" cap="all" spc="-225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en-US" sz="6600" b="0" i="0" u="none" strike="noStrike" kern="1200" cap="all" spc="-225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YOU</a:t>
            </a:r>
            <a:endParaRPr lang="en-US" sz="6600" spc="-225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FFA6F3F-F94F-40A5-8CE5-0F6AAA5F4BC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8821" y="6207119"/>
            <a:ext cx="2134171" cy="299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69189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5592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, Honeywell Sans Bold 10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409701"/>
            <a:ext cx="5372100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4D0DF29E-4A6C-4505-AA49-6B64388E1397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2722998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6362047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+ Pic Light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C9632D-2F70-4D0E-B737-ACF4A2DDEB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300" y="1409700"/>
            <a:ext cx="8382000" cy="2019300"/>
          </a:xfrm>
        </p:spPr>
        <p:txBody>
          <a:bodyPr tIns="0" anchor="t"/>
          <a:lstStyle>
            <a:lvl1pPr algn="l">
              <a:lnSpc>
                <a:spcPct val="100000"/>
              </a:lnSpc>
              <a:defRPr sz="44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7C3F44-5413-48F1-ACBF-6BEAE9CA8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5300" y="3848100"/>
            <a:ext cx="5600700" cy="892017"/>
          </a:xfrm>
        </p:spPr>
        <p:txBody>
          <a:bodyPr tIns="0" bIns="182880" anchor="t" anchorCtr="0"/>
          <a:lstStyle>
            <a:lvl1pPr marL="0" indent="0" algn="l">
              <a:spcAft>
                <a:spcPts val="0"/>
              </a:spcAft>
              <a:buNone/>
              <a:defRPr sz="1600" b="0" cap="all" baseline="0">
                <a:latin typeface="+mj-lt"/>
              </a:defRPr>
            </a:lvl1pPr>
            <a:lvl2pPr marL="0" indent="0" algn="l">
              <a:spcAft>
                <a:spcPts val="1200"/>
              </a:spcAft>
              <a:buNone/>
              <a:defRPr sz="1600" b="1" cap="all" baseline="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’s Name</a:t>
            </a:r>
          </a:p>
          <a:p>
            <a:pPr lvl="1"/>
            <a:r>
              <a:rPr lang="en-US"/>
              <a:t>Presenter’s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C79F04-7833-4562-B8D1-AC0341D757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300" y="499811"/>
            <a:ext cx="2743200" cy="365125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600" b="1">
                <a:latin typeface="+mn-lt"/>
              </a:defRPr>
            </a:lvl1pPr>
          </a:lstStyle>
          <a:p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07D801B6-A973-4D6D-8431-BA0D1481B3C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98212" y="6008332"/>
            <a:ext cx="24446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6415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  <p15:guide id="2" orient="horz" pos="3216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+ large Icon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1409699"/>
            <a:ext cx="5600700" cy="2019301"/>
          </a:xfrm>
        </p:spPr>
        <p:txBody>
          <a:bodyPr tIns="0" anchor="t"/>
          <a:lstStyle>
            <a:lvl1pPr>
              <a:lnSpc>
                <a:spcPct val="80000"/>
              </a:lnSpc>
              <a:defRPr sz="44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3848101"/>
            <a:ext cx="5600700" cy="2019300"/>
          </a:xfrm>
        </p:spPr>
        <p:txBody>
          <a:bodyPr tIns="18288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7546317B-3751-4D87-BA2D-3B5F5976195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6237" y="6528244"/>
            <a:ext cx="1143000" cy="213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70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72">
          <p15:clr>
            <a:srgbClr val="FBAE40"/>
          </p15:clr>
        </p15:guide>
        <p15:guide id="2" pos="5592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4.xml"/><Relationship Id="rId18" Type="http://schemas.openxmlformats.org/officeDocument/2006/relationships/slideLayout" Target="../slideLayouts/slideLayout59.xml"/><Relationship Id="rId26" Type="http://schemas.openxmlformats.org/officeDocument/2006/relationships/slideLayout" Target="../slideLayouts/slideLayout67.xml"/><Relationship Id="rId39" Type="http://schemas.openxmlformats.org/officeDocument/2006/relationships/slideLayout" Target="../slideLayouts/slideLayout80.xml"/><Relationship Id="rId21" Type="http://schemas.openxmlformats.org/officeDocument/2006/relationships/slideLayout" Target="../slideLayouts/slideLayout62.xml"/><Relationship Id="rId34" Type="http://schemas.openxmlformats.org/officeDocument/2006/relationships/slideLayout" Target="../slideLayouts/slideLayout75.xml"/><Relationship Id="rId42" Type="http://schemas.openxmlformats.org/officeDocument/2006/relationships/slideLayout" Target="../slideLayouts/slideLayout83.xml"/><Relationship Id="rId47" Type="http://schemas.openxmlformats.org/officeDocument/2006/relationships/image" Target="../media/image7.emf"/><Relationship Id="rId7" Type="http://schemas.openxmlformats.org/officeDocument/2006/relationships/slideLayout" Target="../slideLayouts/slideLayout48.xml"/><Relationship Id="rId2" Type="http://schemas.openxmlformats.org/officeDocument/2006/relationships/slideLayout" Target="../slideLayouts/slideLayout43.xml"/><Relationship Id="rId16" Type="http://schemas.openxmlformats.org/officeDocument/2006/relationships/slideLayout" Target="../slideLayouts/slideLayout57.xml"/><Relationship Id="rId29" Type="http://schemas.openxmlformats.org/officeDocument/2006/relationships/slideLayout" Target="../slideLayouts/slideLayout70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24" Type="http://schemas.openxmlformats.org/officeDocument/2006/relationships/slideLayout" Target="../slideLayouts/slideLayout65.xml"/><Relationship Id="rId32" Type="http://schemas.openxmlformats.org/officeDocument/2006/relationships/slideLayout" Target="../slideLayouts/slideLayout73.xml"/><Relationship Id="rId37" Type="http://schemas.openxmlformats.org/officeDocument/2006/relationships/slideLayout" Target="../slideLayouts/slideLayout78.xml"/><Relationship Id="rId40" Type="http://schemas.openxmlformats.org/officeDocument/2006/relationships/slideLayout" Target="../slideLayouts/slideLayout81.xml"/><Relationship Id="rId45" Type="http://schemas.openxmlformats.org/officeDocument/2006/relationships/tags" Target="../tags/tag4.xml"/><Relationship Id="rId5" Type="http://schemas.openxmlformats.org/officeDocument/2006/relationships/slideLayout" Target="../slideLayouts/slideLayout46.xml"/><Relationship Id="rId15" Type="http://schemas.openxmlformats.org/officeDocument/2006/relationships/slideLayout" Target="../slideLayouts/slideLayout56.xml"/><Relationship Id="rId23" Type="http://schemas.openxmlformats.org/officeDocument/2006/relationships/slideLayout" Target="../slideLayouts/slideLayout64.xml"/><Relationship Id="rId28" Type="http://schemas.openxmlformats.org/officeDocument/2006/relationships/slideLayout" Target="../slideLayouts/slideLayout69.xml"/><Relationship Id="rId36" Type="http://schemas.openxmlformats.org/officeDocument/2006/relationships/slideLayout" Target="../slideLayouts/slideLayout77.xml"/><Relationship Id="rId10" Type="http://schemas.openxmlformats.org/officeDocument/2006/relationships/slideLayout" Target="../slideLayouts/slideLayout51.xml"/><Relationship Id="rId19" Type="http://schemas.openxmlformats.org/officeDocument/2006/relationships/slideLayout" Target="../slideLayouts/slideLayout60.xml"/><Relationship Id="rId31" Type="http://schemas.openxmlformats.org/officeDocument/2006/relationships/slideLayout" Target="../slideLayouts/slideLayout72.xml"/><Relationship Id="rId44" Type="http://schemas.openxmlformats.org/officeDocument/2006/relationships/tags" Target="../tags/tag3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slideLayout" Target="../slideLayouts/slideLayout55.xml"/><Relationship Id="rId22" Type="http://schemas.openxmlformats.org/officeDocument/2006/relationships/slideLayout" Target="../slideLayouts/slideLayout63.xml"/><Relationship Id="rId27" Type="http://schemas.openxmlformats.org/officeDocument/2006/relationships/slideLayout" Target="../slideLayouts/slideLayout68.xml"/><Relationship Id="rId30" Type="http://schemas.openxmlformats.org/officeDocument/2006/relationships/slideLayout" Target="../slideLayouts/slideLayout71.xml"/><Relationship Id="rId35" Type="http://schemas.openxmlformats.org/officeDocument/2006/relationships/slideLayout" Target="../slideLayouts/slideLayout76.xml"/><Relationship Id="rId43" Type="http://schemas.openxmlformats.org/officeDocument/2006/relationships/theme" Target="../theme/theme2.xml"/><Relationship Id="rId8" Type="http://schemas.openxmlformats.org/officeDocument/2006/relationships/slideLayout" Target="../slideLayouts/slideLayout49.xml"/><Relationship Id="rId3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53.xml"/><Relationship Id="rId17" Type="http://schemas.openxmlformats.org/officeDocument/2006/relationships/slideLayout" Target="../slideLayouts/slideLayout58.xml"/><Relationship Id="rId25" Type="http://schemas.openxmlformats.org/officeDocument/2006/relationships/slideLayout" Target="../slideLayouts/slideLayout66.xml"/><Relationship Id="rId33" Type="http://schemas.openxmlformats.org/officeDocument/2006/relationships/slideLayout" Target="../slideLayouts/slideLayout74.xml"/><Relationship Id="rId38" Type="http://schemas.openxmlformats.org/officeDocument/2006/relationships/slideLayout" Target="../slideLayouts/slideLayout79.xml"/><Relationship Id="rId46" Type="http://schemas.openxmlformats.org/officeDocument/2006/relationships/oleObject" Target="../embeddings/oleObject2.bin"/><Relationship Id="rId20" Type="http://schemas.openxmlformats.org/officeDocument/2006/relationships/slideLayout" Target="../slideLayouts/slideLayout61.xml"/><Relationship Id="rId41" Type="http://schemas.openxmlformats.org/officeDocument/2006/relationships/slideLayout" Target="../slideLayouts/slideLayout8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D5431E2-DC1C-4926-9681-B5EB493CA4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300"/>
            <a:ext cx="11201401" cy="4191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3AB30FB-4B8F-4B77-AC4C-E2E31B21423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299" y="1409700"/>
            <a:ext cx="11201401" cy="44577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9C61BD-1A56-4C96-8300-B2F24AEB8A0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95299" y="6480164"/>
            <a:ext cx="5600702" cy="23761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1000" b="1">
                <a:solidFill>
                  <a:schemeClr val="accent3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471868-C853-40C5-8660-D23F908B5B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99755" y="6480164"/>
            <a:ext cx="496945" cy="23761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>
              <a:defRPr sz="1000" b="1">
                <a:solidFill>
                  <a:schemeClr val="accent3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6" name="Rectangle 23">
            <a:extLst>
              <a:ext uri="{FF2B5EF4-FFF2-40B4-BE49-F238E27FC236}">
                <a16:creationId xmlns:a16="http://schemas.microsoft.com/office/drawing/2014/main" id="{D7686E33-694A-4833-A47B-FAB757D2534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594837" y="6478016"/>
            <a:ext cx="4118435" cy="2154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800">
                <a:solidFill>
                  <a:schemeClr val="accent3"/>
                </a:solidFill>
                <a:latin typeface="+mn-lt"/>
                <a:cs typeface="Arial" panose="020B0604020202020204" pitchFamily="34" charset="0"/>
              </a:rPr>
              <a:t>Honeywell Confidential - ©2023 by Honeywell International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9614646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71" r:id="rId2"/>
    <p:sldLayoutId id="2147483675" r:id="rId3"/>
    <p:sldLayoutId id="2147483679" r:id="rId4"/>
    <p:sldLayoutId id="2147483651" r:id="rId5"/>
    <p:sldLayoutId id="2147483666" r:id="rId6"/>
    <p:sldLayoutId id="2147483667" r:id="rId7"/>
    <p:sldLayoutId id="2147483673" r:id="rId8"/>
    <p:sldLayoutId id="2147483674" r:id="rId9"/>
    <p:sldLayoutId id="2147483678" r:id="rId10"/>
    <p:sldLayoutId id="2147483665" r:id="rId11"/>
    <p:sldLayoutId id="2147483657" r:id="rId12"/>
    <p:sldLayoutId id="2147483670" r:id="rId13"/>
    <p:sldLayoutId id="2147483650" r:id="rId14"/>
    <p:sldLayoutId id="2147483656" r:id="rId15"/>
    <p:sldLayoutId id="2147483664" r:id="rId16"/>
    <p:sldLayoutId id="2147483661" r:id="rId17"/>
    <p:sldLayoutId id="2147483658" r:id="rId18"/>
    <p:sldLayoutId id="2147483662" r:id="rId19"/>
    <p:sldLayoutId id="2147483659" r:id="rId20"/>
    <p:sldLayoutId id="2147483663" r:id="rId21"/>
    <p:sldLayoutId id="2147483660" r:id="rId22"/>
    <p:sldLayoutId id="2147483681" r:id="rId23"/>
    <p:sldLayoutId id="2147483654" r:id="rId24"/>
    <p:sldLayoutId id="2147483655" r:id="rId25"/>
    <p:sldLayoutId id="2147483692" r:id="rId26"/>
    <p:sldLayoutId id="2147483693" r:id="rId27"/>
    <p:sldLayoutId id="2147483694" r:id="rId28"/>
    <p:sldLayoutId id="2147483695" r:id="rId29"/>
    <p:sldLayoutId id="2147483696" r:id="rId30"/>
    <p:sldLayoutId id="2147483697" r:id="rId31"/>
    <p:sldLayoutId id="2147483698" r:id="rId32"/>
    <p:sldLayoutId id="2147483699" r:id="rId33"/>
    <p:sldLayoutId id="2147483700" r:id="rId34"/>
    <p:sldLayoutId id="2147483701" r:id="rId35"/>
    <p:sldLayoutId id="2147483702" r:id="rId36"/>
    <p:sldLayoutId id="2147483703" r:id="rId37"/>
    <p:sldLayoutId id="2147483672" r:id="rId38"/>
    <p:sldLayoutId id="2147483704" r:id="rId39"/>
    <p:sldLayoutId id="2147484187" r:id="rId40"/>
    <p:sldLayoutId id="2147484193" r:id="rId41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Honeywell Sans" panose="02010503040101060203" pitchFamily="50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460375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800"/>
        </a:spcBef>
        <a:spcAft>
          <a:spcPts val="1000"/>
        </a:spcAft>
        <a:buFont typeface="Arial" panose="020B0604020202020204" pitchFamily="34" charset="0"/>
        <a:buNone/>
        <a:defRPr sz="2400" b="1" kern="1200" baseline="0">
          <a:solidFill>
            <a:schemeClr val="accent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DE53C"/>
          </p15:clr>
        </p15:guide>
        <p15:guide id="2" pos="3840" userDrawn="1">
          <p15:clr>
            <a:srgbClr val="9FCC3B"/>
          </p15:clr>
        </p15:guide>
        <p15:guide id="3" orient="horz" pos="312" userDrawn="1">
          <p15:clr>
            <a:srgbClr val="9FCC3B"/>
          </p15:clr>
        </p15:guide>
        <p15:guide id="4" orient="horz" pos="4008" userDrawn="1">
          <p15:clr>
            <a:srgbClr val="FDE53C"/>
          </p15:clr>
        </p15:guide>
        <p15:guide id="6" pos="7368" userDrawn="1">
          <p15:clr>
            <a:srgbClr val="9FCC3B"/>
          </p15:clr>
        </p15:guide>
        <p15:guide id="7" orient="horz" pos="3696" userDrawn="1">
          <p15:clr>
            <a:srgbClr val="9FCC3B"/>
          </p15:clr>
        </p15:guide>
        <p15:guide id="9" orient="horz" pos="576" userDrawn="1">
          <p15:clr>
            <a:srgbClr val="9FCC3B"/>
          </p15:clr>
        </p15:guide>
        <p15:guide id="10" orient="horz" pos="888" userDrawn="1">
          <p15:clr>
            <a:srgbClr val="9FCC3B"/>
          </p15:clr>
        </p15:guide>
        <p15:guide id="11" orient="horz" pos="2304" userDrawn="1">
          <p15:clr>
            <a:srgbClr val="9FCC3B"/>
          </p15:clr>
        </p15:guide>
        <p15:guide id="12" userDrawn="1">
          <p15:clr>
            <a:srgbClr val="000000"/>
          </p15:clr>
        </p15:guide>
        <p15:guide id="13" pos="7680" userDrawn="1">
          <p15:clr>
            <a:srgbClr val="000000"/>
          </p15:clr>
        </p15:guide>
        <p15:guide id="14" orient="horz" userDrawn="1">
          <p15:clr>
            <a:srgbClr val="000000"/>
          </p15:clr>
        </p15:guide>
        <p15:guide id="15" orient="horz" pos="4320" userDrawn="1">
          <p15:clr>
            <a:srgbClr val="000000"/>
          </p15:clr>
        </p15:guide>
        <p15:guide id="16" pos="312" userDrawn="1">
          <p15:clr>
            <a:srgbClr val="9FCC3B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92A7798-F3DB-43C4-B103-4253CC2C0EA8}"/>
              </a:ext>
            </a:extLst>
          </p:cNvPr>
          <p:cNvGraphicFramePr>
            <a:graphicFrameLocks noChangeAspect="1"/>
          </p:cNvGraphicFramePr>
          <p:nvPr>
            <p:custDataLst>
              <p:tags r:id="rId44"/>
            </p:custDataLst>
            <p:extLst>
              <p:ext uri="{D42A27DB-BD31-4B8C-83A1-F6EECF244321}">
                <p14:modId xmlns:p14="http://schemas.microsoft.com/office/powerpoint/2010/main" val="274368431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6" imgW="347" imgH="348" progId="TCLayout.ActiveDocument.1">
                  <p:embed/>
                </p:oleObj>
              </mc:Choice>
              <mc:Fallback>
                <p:oleObj name="think-cell Slide" r:id="rId46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92A7798-F3DB-43C4-B103-4253CC2C0E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9442B51-3222-4383-9C98-1E5D34F0910A}"/>
              </a:ext>
            </a:extLst>
          </p:cNvPr>
          <p:cNvSpPr/>
          <p:nvPr>
            <p:custDataLst>
              <p:tags r:id="rId45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D5431E2-DC1C-4926-9681-B5EB493CA4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11531"/>
            <a:ext cx="11391903" cy="4191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3AB30FB-4B8F-4B77-AC4C-E2E31B21423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3411" y="1177686"/>
            <a:ext cx="11391903" cy="44577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471868-C853-40C5-8660-D23F908B5B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8369" y="6480166"/>
            <a:ext cx="496945" cy="23761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>
              <a:defRPr sz="750" b="1">
                <a:solidFill>
                  <a:schemeClr val="accent3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Rectangle 23">
            <a:extLst>
              <a:ext uri="{FF2B5EF4-FFF2-40B4-BE49-F238E27FC236}">
                <a16:creationId xmlns:a16="http://schemas.microsoft.com/office/drawing/2014/main" id="{38DD887E-96DC-4944-9F40-77BD91C30C1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22389" y="6464368"/>
            <a:ext cx="4118435" cy="2154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altLang="en-US" sz="600">
                <a:solidFill>
                  <a:schemeClr val="accent3"/>
                </a:solidFill>
                <a:latin typeface="+mn-lt"/>
                <a:cs typeface="Arial" panose="020B0604020202020204" pitchFamily="34" charset="0"/>
              </a:rPr>
              <a:t>© 2024 Honeywell International Inc. Neither this document nor the information contained herein may be reproduced, used, distributed or disclosed to others without the written consent of Honeywell</a:t>
            </a:r>
          </a:p>
        </p:txBody>
      </p:sp>
    </p:spTree>
    <p:extLst>
      <p:ext uri="{BB962C8B-B14F-4D97-AF65-F5344CB8AC3E}">
        <p14:creationId xmlns:p14="http://schemas.microsoft.com/office/powerpoint/2010/main" val="32951622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4" r:id="rId1"/>
    <p:sldLayoutId id="2147483765" r:id="rId2"/>
    <p:sldLayoutId id="2147483766" r:id="rId3"/>
    <p:sldLayoutId id="2147483767" r:id="rId4"/>
    <p:sldLayoutId id="2147483768" r:id="rId5"/>
    <p:sldLayoutId id="2147483769" r:id="rId6"/>
    <p:sldLayoutId id="2147483770" r:id="rId7"/>
    <p:sldLayoutId id="2147483771" r:id="rId8"/>
    <p:sldLayoutId id="2147483772" r:id="rId9"/>
    <p:sldLayoutId id="2147483773" r:id="rId10"/>
    <p:sldLayoutId id="2147483774" r:id="rId11"/>
    <p:sldLayoutId id="2147483775" r:id="rId12"/>
    <p:sldLayoutId id="2147483776" r:id="rId13"/>
    <p:sldLayoutId id="2147483777" r:id="rId14"/>
    <p:sldLayoutId id="2147483778" r:id="rId15"/>
    <p:sldLayoutId id="2147483779" r:id="rId16"/>
    <p:sldLayoutId id="2147483780" r:id="rId17"/>
    <p:sldLayoutId id="2147483781" r:id="rId18"/>
    <p:sldLayoutId id="2147483782" r:id="rId19"/>
    <p:sldLayoutId id="2147483783" r:id="rId20"/>
    <p:sldLayoutId id="2147483784" r:id="rId21"/>
    <p:sldLayoutId id="2147483785" r:id="rId22"/>
    <p:sldLayoutId id="2147483786" r:id="rId23"/>
    <p:sldLayoutId id="2147483787" r:id="rId24"/>
    <p:sldLayoutId id="2147483788" r:id="rId25"/>
    <p:sldLayoutId id="2147483789" r:id="rId26"/>
    <p:sldLayoutId id="2147483790" r:id="rId27"/>
    <p:sldLayoutId id="2147483791" r:id="rId28"/>
    <p:sldLayoutId id="2147483792" r:id="rId29"/>
    <p:sldLayoutId id="2147483793" r:id="rId30"/>
    <p:sldLayoutId id="2147483794" r:id="rId31"/>
    <p:sldLayoutId id="2147483795" r:id="rId32"/>
    <p:sldLayoutId id="2147483796" r:id="rId33"/>
    <p:sldLayoutId id="2147483797" r:id="rId34"/>
    <p:sldLayoutId id="2147483798" r:id="rId35"/>
    <p:sldLayoutId id="2147483799" r:id="rId36"/>
    <p:sldLayoutId id="2147483800" r:id="rId37"/>
    <p:sldLayoutId id="2147483801" r:id="rId38"/>
    <p:sldLayoutId id="2147483802" r:id="rId39"/>
    <p:sldLayoutId id="2147483803" r:id="rId40"/>
    <p:sldLayoutId id="2147483804" r:id="rId41"/>
    <p:sldLayoutId id="2147483805" r:id="rId42"/>
  </p:sldLayoutIdLst>
  <p:hf hdr="0" ftr="0"/>
  <p:txStyles>
    <p:titleStyle>
      <a:lvl1pPr algn="l" defTabSz="685800" rtl="0" eaLnBrk="1" latinLnBrk="0" hangingPunct="1">
        <a:lnSpc>
          <a:spcPct val="80000"/>
        </a:lnSpc>
        <a:spcBef>
          <a:spcPct val="0"/>
        </a:spcBef>
        <a:buNone/>
        <a:defRPr sz="3200" kern="1200" cap="all" spc="-113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80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indent="-342900" algn="l" defTabSz="6858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>
          <a:schemeClr val="tx1"/>
        </a:buClr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720000" indent="-342900" algn="l" defTabSz="6858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>
          <a:schemeClr val="tx1"/>
        </a:buClr>
        <a:buFont typeface="Arial" panose="020B0604020202020204" pitchFamily="34" charset="0"/>
        <a:buChar char="‒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44000" indent="-342000" algn="l" defTabSz="6858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>
          <a:schemeClr val="tx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368000" indent="-342000" algn="l" defTabSz="685800" rtl="0" eaLnBrk="1" latinLnBrk="0" hangingPunct="1">
        <a:lnSpc>
          <a:spcPct val="90000"/>
        </a:lnSpc>
        <a:spcBef>
          <a:spcPts val="0"/>
        </a:spcBef>
        <a:spcAft>
          <a:spcPts val="0"/>
        </a:spcAft>
        <a:buClr>
          <a:schemeClr val="tx1"/>
        </a:buClr>
        <a:buFont typeface="Courier New" panose="02070309020205020404" pitchFamily="49" charset="0"/>
        <a:buChar char="o"/>
        <a:defRPr sz="1600" b="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DE53C"/>
          </p15:clr>
        </p15:guide>
        <p15:guide id="2" pos="3840">
          <p15:clr>
            <a:srgbClr val="9FCC3B"/>
          </p15:clr>
        </p15:guide>
        <p15:guide id="3" orient="horz" pos="312">
          <p15:clr>
            <a:srgbClr val="9FCC3B"/>
          </p15:clr>
        </p15:guide>
        <p15:guide id="4" orient="horz" pos="4008">
          <p15:clr>
            <a:srgbClr val="FDE53C"/>
          </p15:clr>
        </p15:guide>
        <p15:guide id="6" pos="7368">
          <p15:clr>
            <a:srgbClr val="9FCC3B"/>
          </p15:clr>
        </p15:guide>
        <p15:guide id="7" orient="horz" pos="3696">
          <p15:clr>
            <a:srgbClr val="9FCC3B"/>
          </p15:clr>
        </p15:guide>
        <p15:guide id="9" orient="horz" pos="576">
          <p15:clr>
            <a:srgbClr val="9FCC3B"/>
          </p15:clr>
        </p15:guide>
        <p15:guide id="10" orient="horz" pos="888">
          <p15:clr>
            <a:srgbClr val="9FCC3B"/>
          </p15:clr>
        </p15:guide>
        <p15:guide id="11" orient="horz" pos="2304">
          <p15:clr>
            <a:srgbClr val="9FCC3B"/>
          </p15:clr>
        </p15:guide>
        <p15:guide id="12">
          <p15:clr>
            <a:srgbClr val="000000"/>
          </p15:clr>
        </p15:guide>
        <p15:guide id="13" pos="7680">
          <p15:clr>
            <a:srgbClr val="000000"/>
          </p15:clr>
        </p15:guide>
        <p15:guide id="14" orient="horz">
          <p15:clr>
            <a:srgbClr val="000000"/>
          </p15:clr>
        </p15:guide>
        <p15:guide id="15" orient="horz" pos="4320">
          <p15:clr>
            <a:srgbClr val="000000"/>
          </p15:clr>
        </p15:guide>
        <p15:guide id="16" pos="312">
          <p15:clr>
            <a:srgbClr val="9FCC3B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aerospace.honeywell.com/us/en/about-us/blogs/connect-to-protect-honeywell-ensemble-ushers-in-a-new-era-for-msp" TargetMode="External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6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mailto:Champs@honeywell.com" TargetMode="External"/><Relationship Id="rId7" Type="http://schemas.openxmlformats.org/officeDocument/2006/relationships/image" Target="../media/image17.png"/><Relationship Id="rId2" Type="http://schemas.openxmlformats.org/officeDocument/2006/relationships/hyperlink" Target="mailto:MSPContracts@honeywell.com" TargetMode="Externa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16.png"/><Relationship Id="rId5" Type="http://schemas.openxmlformats.org/officeDocument/2006/relationships/hyperlink" Target="mailto:MSPAvionics@honeywell.com" TargetMode="External"/><Relationship Id="rId4" Type="http://schemas.openxmlformats.org/officeDocument/2006/relationships/hyperlink" Target="mailto:MSPPayments@Honeywell.com" TargetMode="Externa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18.emf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4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Relationship Id="rId9" Type="http://schemas.openxmlformats.org/officeDocument/2006/relationships/image" Target="../media/image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C44ED4CD-CA6E-DA81-2404-A8A25D7417A8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 amt="50000"/>
          </a:blip>
          <a:srcRect l="40776"/>
          <a:stretch/>
        </p:blipFill>
        <p:spPr>
          <a:xfrm>
            <a:off x="0" y="-450876"/>
            <a:ext cx="12192000" cy="621705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8C59A88-40BC-498F-A496-230917BC7A1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997723" y="6090315"/>
            <a:ext cx="9106292" cy="450375"/>
          </a:xfrm>
        </p:spPr>
        <p:txBody>
          <a:bodyPr/>
          <a:lstStyle/>
          <a:p>
            <a:pPr algn="ctr"/>
            <a:r>
              <a:rPr lang="en-US" sz="3400" b="1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MSP Administration / Fly the Fleet  </a:t>
            </a:r>
            <a:br>
              <a:rPr lang="en-US" sz="4000" dirty="0"/>
            </a:br>
            <a:endParaRPr lang="en-US" sz="40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8BB5814-E7E9-EA25-D59D-5122A43A092C}"/>
              </a:ext>
            </a:extLst>
          </p:cNvPr>
          <p:cNvSpPr txBox="1"/>
          <p:nvPr/>
        </p:nvSpPr>
        <p:spPr>
          <a:xfrm>
            <a:off x="2997724" y="6407625"/>
            <a:ext cx="9106291" cy="2661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8391773"/>
      </p:ext>
    </p:extLst>
  </p:cSld>
  <p:clrMapOvr>
    <a:masterClrMapping/>
  </p:clrMapOvr>
  <p:transition spd="slow">
    <p:push dir="u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11B22707-4CB9-2835-F8A1-6FB7BC16830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29726" y="3313776"/>
            <a:ext cx="5318982" cy="297272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6E949F1-5A52-4F0F-840A-722B463CF3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563" y="297671"/>
            <a:ext cx="11391902" cy="419100"/>
          </a:xfrm>
        </p:spPr>
        <p:txBody>
          <a:bodyPr/>
          <a:lstStyle/>
          <a:p>
            <a:r>
              <a:rPr lang="en-US" dirty="0" err="1"/>
              <a:t>Msp</a:t>
            </a:r>
            <a:r>
              <a:rPr lang="en-US" dirty="0"/>
              <a:t> automation and digitization Projec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2CCA05C-4438-7402-7D48-3AADB1FC1D45}"/>
              </a:ext>
            </a:extLst>
          </p:cNvPr>
          <p:cNvSpPr txBox="1"/>
          <p:nvPr/>
        </p:nvSpPr>
        <p:spPr>
          <a:xfrm>
            <a:off x="151616" y="740048"/>
            <a:ext cx="5696734" cy="63094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b="1" dirty="0"/>
              <a:t>2024 / 2025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Supervisors placed over;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 Avionics, Entry, Contracts, Support, Collec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Making portal robust: $0 invoices, duplicate invoices hours not recording, access ques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New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Online </a:t>
            </a:r>
            <a:r>
              <a:rPr lang="en-US" sz="1600" b="1" dirty="0"/>
              <a:t>renewal</a:t>
            </a:r>
            <a:r>
              <a:rPr lang="en-US" sz="1600" dirty="0"/>
              <a:t> automatio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Online </a:t>
            </a:r>
            <a:r>
              <a:rPr lang="en-US" sz="1600" b="1" dirty="0"/>
              <a:t>transfer</a:t>
            </a:r>
            <a:r>
              <a:rPr lang="en-US" sz="1600" dirty="0"/>
              <a:t> notification (send through portal and electronic signatures) – January live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Online </a:t>
            </a:r>
            <a:r>
              <a:rPr lang="en-US" sz="1600" b="1" dirty="0"/>
              <a:t>new</a:t>
            </a:r>
            <a:r>
              <a:rPr lang="en-US" sz="1600" dirty="0"/>
              <a:t> contract setup – January liv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Products this applies to;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sz="1600" dirty="0"/>
              <a:t>HTF / TFE / APU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sz="1600" dirty="0"/>
              <a:t>CFE/TPE manual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Coming; auto TSN reporting and auto billing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US" sz="1600" dirty="0">
                <a:hlinkClick r:id="rId3"/>
              </a:rPr>
              <a:t>Honeywell Ensemble</a:t>
            </a:r>
            <a:r>
              <a:rPr lang="en-US" sz="1600" dirty="0"/>
              <a:t>– also performance trending</a:t>
            </a:r>
          </a:p>
          <a:p>
            <a:pPr marL="1257300" lvl="2" indent="-342900">
              <a:buFont typeface="Arial" panose="020B0604020202020204" pitchFamily="34" charset="0"/>
              <a:buChar char="•"/>
            </a:pPr>
            <a:r>
              <a:rPr lang="en-US" sz="1600" dirty="0"/>
              <a:t>Applies to HTF / TFE NG, APUs at 60% TSN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sz="1600" dirty="0"/>
              <a:t>January live - HTF contract renewals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US" sz="1600" dirty="0"/>
              <a:t>ADS-B TSN reporting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US" sz="1600" dirty="0"/>
              <a:t>Prior month usage hours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600" dirty="0"/>
              <a:t>Will be able to enter hours before pre-populating</a:t>
            </a:r>
          </a:p>
          <a:p>
            <a:pPr lvl="1"/>
            <a:endParaRPr lang="en-US" sz="16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D1E20F2-28EF-21D6-68F5-1668140B872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47538" y="1434411"/>
            <a:ext cx="3886163" cy="2070121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E18D38B-A710-FAC5-B1C2-3A9D4950795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18592" y="716772"/>
            <a:ext cx="4268458" cy="1681756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83487907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9EE2F2-BE67-6996-909A-8AA535A501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087" y="170665"/>
            <a:ext cx="11201401" cy="419100"/>
          </a:xfrm>
        </p:spPr>
        <p:txBody>
          <a:bodyPr/>
          <a:lstStyle/>
          <a:p>
            <a:r>
              <a:rPr lang="en-US" dirty="0"/>
              <a:t>Case Management Tracking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646C862-B82F-9CA0-81A8-CBFAD26708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2</a:t>
            </a:fld>
            <a:endParaRPr lang="en-US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E1A1362-2680-4EAE-5529-55D725AE2F8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Include Contract in the email Subject Line, David.lopez2@honeywell.com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136BF3A3-B461-0AA7-66EE-83747689B79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89943289"/>
              </p:ext>
            </p:extLst>
          </p:nvPr>
        </p:nvGraphicFramePr>
        <p:xfrm>
          <a:off x="495301" y="4662248"/>
          <a:ext cx="11201399" cy="1173480"/>
        </p:xfrm>
        <a:graphic>
          <a:graphicData uri="http://schemas.openxmlformats.org/drawingml/2006/table">
            <a:tbl>
              <a:tblPr firstRow="1" firstCol="1" bandRow="1"/>
              <a:tblGrid>
                <a:gridCol w="5245841">
                  <a:extLst>
                    <a:ext uri="{9D8B030D-6E8A-4147-A177-3AD203B41FA5}">
                      <a16:colId xmlns:a16="http://schemas.microsoft.com/office/drawing/2014/main" val="1268506753"/>
                    </a:ext>
                  </a:extLst>
                </a:gridCol>
                <a:gridCol w="3118547">
                  <a:extLst>
                    <a:ext uri="{9D8B030D-6E8A-4147-A177-3AD203B41FA5}">
                      <a16:colId xmlns:a16="http://schemas.microsoft.com/office/drawing/2014/main" val="163990198"/>
                    </a:ext>
                  </a:extLst>
                </a:gridCol>
                <a:gridCol w="2837011">
                  <a:extLst>
                    <a:ext uri="{9D8B030D-6E8A-4147-A177-3AD203B41FA5}">
                      <a16:colId xmlns:a16="http://schemas.microsoft.com/office/drawing/2014/main" val="3910273983"/>
                    </a:ext>
                  </a:extLst>
                </a:gridCol>
              </a:tblGrid>
              <a:tr h="163352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</a:rPr>
                        <a:t>Question or Issue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Aptos" panose="020B0004020202020204" pitchFamily="34" charset="0"/>
                      </a:endParaRPr>
                    </a:p>
                  </a:txBody>
                  <a:tcPr marL="66826" marR="6682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</a:rPr>
                        <a:t>Email address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Aptos" panose="020B0004020202020204" pitchFamily="34" charset="0"/>
                      </a:endParaRPr>
                    </a:p>
                  </a:txBody>
                  <a:tcPr marL="66826" marR="6682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</a:rPr>
                        <a:t>Phone Number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Aptos" panose="020B0004020202020204" pitchFamily="34" charset="0"/>
                      </a:endParaRPr>
                    </a:p>
                  </a:txBody>
                  <a:tcPr marL="66826" marR="6682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6902277"/>
                  </a:ext>
                </a:extLst>
              </a:tr>
              <a:tr h="326705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</a:rPr>
                        <a:t>MSP Engine &amp; APU Contracts for related items such as rates, renewals, transfer of ownership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Aptos" panose="020B0004020202020204" pitchFamily="34" charset="0"/>
                      </a:endParaRPr>
                    </a:p>
                  </a:txBody>
                  <a:tcPr marL="66826" marR="6682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u="sng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hlinkClick r:id="rId2"/>
                        </a:rPr>
                        <a:t>MSPContracts@honeywell.com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Aptos" panose="020B0004020202020204" pitchFamily="34" charset="0"/>
                      </a:endParaRPr>
                    </a:p>
                  </a:txBody>
                  <a:tcPr marL="66826" marR="6682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</a:rPr>
                        <a:t>1-602-365-6442 </a:t>
                      </a:r>
                      <a:r>
                        <a:rPr lang="en-US" sz="1100"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</a:rPr>
                        <a:t>O</a:t>
                      </a: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</a:rPr>
                        <a:t>ption 3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Aptos" panose="020B0004020202020204" pitchFamily="34" charset="0"/>
                      </a:endParaRPr>
                    </a:p>
                  </a:txBody>
                  <a:tcPr marL="66826" marR="6682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2575544"/>
                  </a:ext>
                </a:extLst>
              </a:tr>
              <a:tr h="326705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</a:rPr>
                        <a:t>MSP Engine &amp; APU support related to adding a new contract / aircraft to your account, reporting</a:t>
                      </a:r>
                      <a:r>
                        <a:rPr lang="en-US" sz="1100" dirty="0"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</a:rPr>
                        <a:t>,</a:t>
                      </a: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</a:rPr>
                        <a:t> hours issues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Aptos" panose="020B0004020202020204" pitchFamily="34" charset="0"/>
                      </a:endParaRPr>
                    </a:p>
                  </a:txBody>
                  <a:tcPr marL="66826" marR="6682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u="sng">
                          <a:solidFill>
                            <a:srgbClr val="0563C1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hlinkClick r:id="rId3"/>
                        </a:rPr>
                        <a:t>Champs@honeywell.com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Aptos" panose="020B0004020202020204" pitchFamily="34" charset="0"/>
                      </a:endParaRPr>
                    </a:p>
                  </a:txBody>
                  <a:tcPr marL="66826" marR="6682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</a:rPr>
                        <a:t>1-</a:t>
                      </a:r>
                      <a:r>
                        <a:rPr lang="en-US" sz="1100"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</a:rPr>
                        <a:t>602-365-6442 Option 2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Aptos" panose="020B0004020202020204" pitchFamily="34" charset="0"/>
                      </a:endParaRPr>
                    </a:p>
                  </a:txBody>
                  <a:tcPr marL="66826" marR="6682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30961844"/>
                  </a:ext>
                </a:extLst>
              </a:tr>
              <a:tr h="163352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</a:rPr>
                        <a:t>MSP Engine &amp; APU payment issues 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Aptos" panose="020B0004020202020204" pitchFamily="34" charset="0"/>
                      </a:endParaRPr>
                    </a:p>
                  </a:txBody>
                  <a:tcPr marL="66826" marR="6682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u="sng">
                          <a:solidFill>
                            <a:srgbClr val="0563C1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hlinkClick r:id="rId4" tooltip="mailto:msppayments@honeywell.com"/>
                        </a:rPr>
                        <a:t>MSPPayments@Honeywell.com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Aptos" panose="020B0004020202020204" pitchFamily="34" charset="0"/>
                      </a:endParaRPr>
                    </a:p>
                  </a:txBody>
                  <a:tcPr marL="66826" marR="6682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</a:rPr>
                        <a:t> 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Aptos" panose="020B0004020202020204" pitchFamily="34" charset="0"/>
                      </a:endParaRPr>
                    </a:p>
                  </a:txBody>
                  <a:tcPr marL="66826" marR="6682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1418630"/>
                  </a:ext>
                </a:extLst>
              </a:tr>
              <a:tr h="163352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</a:rPr>
                        <a:t>MSP Avionics and Mechanical Components questions or support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Aptos" panose="020B0004020202020204" pitchFamily="34" charset="0"/>
                      </a:endParaRPr>
                    </a:p>
                  </a:txBody>
                  <a:tcPr marL="66826" marR="6682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u="sng" dirty="0">
                          <a:solidFill>
                            <a:srgbClr val="0563C1"/>
                          </a:solidFill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  <a:hlinkClick r:id="rId5"/>
                        </a:rPr>
                        <a:t>MSPAvionics@honeywell.com</a:t>
                      </a:r>
                      <a:r>
                        <a:rPr lang="en-US" sz="1100" u="sng" dirty="0">
                          <a:solidFill>
                            <a:srgbClr val="0563C1"/>
                          </a:solidFill>
                          <a:effectLst/>
                          <a:latin typeface="Calibri" panose="020F0502020204030204" pitchFamily="34" charset="0"/>
                          <a:ea typeface="Aptos" panose="020B0004020202020204" pitchFamily="34" charset="0"/>
                        </a:rPr>
                        <a:t>.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Aptos" panose="020B0004020202020204" pitchFamily="34" charset="0"/>
                      </a:endParaRPr>
                    </a:p>
                  </a:txBody>
                  <a:tcPr marL="66826" marR="6682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  <a:latin typeface="Arial" panose="020B0604020202020204" pitchFamily="34" charset="0"/>
                          <a:ea typeface="Aptos" panose="020B0004020202020204" pitchFamily="34" charset="0"/>
                        </a:rPr>
                        <a:t>1-602-365-6441 Option 2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Aptos" panose="020B0004020202020204" pitchFamily="34" charset="0"/>
                      </a:endParaRPr>
                    </a:p>
                  </a:txBody>
                  <a:tcPr marL="66826" marR="6682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93500817"/>
                  </a:ext>
                </a:extLst>
              </a:tr>
            </a:tbl>
          </a:graphicData>
        </a:graphic>
      </p:graphicFrame>
      <p:pic>
        <p:nvPicPr>
          <p:cNvPr id="8" name="Picture 7" descr="A screenshot of a computer screen&#10;&#10;Description automatically generated">
            <a:extLst>
              <a:ext uri="{FF2B5EF4-FFF2-40B4-BE49-F238E27FC236}">
                <a16:creationId xmlns:a16="http://schemas.microsoft.com/office/drawing/2014/main" id="{65F39F4D-4664-B708-1C29-CC3906C59EB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99903" y="604421"/>
            <a:ext cx="4658916" cy="3640478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5C93774A-456B-202E-0ACC-3C923CBE840E}"/>
              </a:ext>
            </a:extLst>
          </p:cNvPr>
          <p:cNvSpPr txBox="1"/>
          <p:nvPr/>
        </p:nvSpPr>
        <p:spPr>
          <a:xfrm>
            <a:off x="5326293" y="566377"/>
            <a:ext cx="6491238" cy="30469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b="1" dirty="0"/>
              <a:t>Case Management (Email and Phon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Networked through Salesforce.com &amp; InContact Phon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Cust Sat Survey 80%, First Call Resolution 84%, Agent Sat 82%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~1500 cases per mont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Similar set of metrics for Avionics, mainly dealer relat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Continuing to refine case routing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Response time - 3 days is gre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11/7 releasing SFDC Escalation path for aging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4 days supervisor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6 days Director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/>
              <a:t>8 days V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676DEBF-D7DF-2079-4299-313F3E00CE36}"/>
              </a:ext>
            </a:extLst>
          </p:cNvPr>
          <p:cNvSpPr txBox="1"/>
          <p:nvPr/>
        </p:nvSpPr>
        <p:spPr>
          <a:xfrm>
            <a:off x="123915" y="4342208"/>
            <a:ext cx="1828800" cy="320040"/>
          </a:xfrm>
          <a:prstGeom prst="rect">
            <a:avLst/>
          </a:prstGeom>
          <a:solidFill>
            <a:srgbClr val="DC202E"/>
          </a:solidFill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MSP Contacts</a:t>
            </a:r>
            <a:endParaRPr kumimoji="0" lang="ko-KR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CFD78CFD-158C-3F79-66BC-D45C83D7217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863840" y="2870181"/>
            <a:ext cx="4204245" cy="172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492305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5D2F66-034D-6E69-0635-B562BD6075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8" y="431867"/>
            <a:ext cx="11201401" cy="419100"/>
          </a:xfrm>
        </p:spPr>
        <p:txBody>
          <a:bodyPr/>
          <a:lstStyle/>
          <a:p>
            <a:r>
              <a:rPr lang="en-US" dirty="0"/>
              <a:t>MSP Fly the Fleet</a:t>
            </a:r>
            <a:br>
              <a:rPr lang="en-US" dirty="0"/>
            </a:br>
            <a:endParaRPr lang="en-US" dirty="0"/>
          </a:p>
        </p:txBody>
      </p:sp>
      <p:graphicFrame>
        <p:nvGraphicFramePr>
          <p:cNvPr id="22" name="Content Placeholder 21">
            <a:extLst>
              <a:ext uri="{FF2B5EF4-FFF2-40B4-BE49-F238E27FC236}">
                <a16:creationId xmlns:a16="http://schemas.microsoft.com/office/drawing/2014/main" id="{1867699E-9635-7F35-7DD5-96B442F778BA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124603364"/>
              </p:ext>
            </p:extLst>
          </p:nvPr>
        </p:nvGraphicFramePr>
        <p:xfrm>
          <a:off x="4565437" y="2096635"/>
          <a:ext cx="7630844" cy="36397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6ED81F9-943B-4CBD-DF81-FF0A833306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3</a:t>
            </a:fld>
            <a:endParaRPr lang="en-US"/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B91DACF0-9947-8380-1E1F-44C8D8D9520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Quarterly Run of Fly the Fleet Model, Looking out Multiple Year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20CFB7F-0255-59C2-A672-781D51BEFB8B}"/>
              </a:ext>
            </a:extLst>
          </p:cNvPr>
          <p:cNvSpPr txBox="1"/>
          <p:nvPr/>
        </p:nvSpPr>
        <p:spPr>
          <a:xfrm>
            <a:off x="4495769" y="1089555"/>
            <a:ext cx="7130174" cy="59169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/>
              <a:t>Includes unscheduled factor (Honeywell Ensemble performance)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/>
              <a:t>ERB / HAT / T&amp;M / Proactive added on above this for ISC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/>
              <a:t>Similar process for HTF/TFE/CFE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dirty="0"/>
              <a:t>Look at </a:t>
            </a:r>
            <a:r>
              <a:rPr lang="en-US" dirty="0" err="1"/>
              <a:t>workscope</a:t>
            </a:r>
            <a:r>
              <a:rPr lang="en-US" dirty="0"/>
              <a:t> like hot section or compressor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E48992C-1C2C-D298-3141-E3CA6210205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10120" y="961536"/>
            <a:ext cx="2454929" cy="1732058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0B27E093-065A-1DD7-B77C-15E5669532FC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l="404" t="1199"/>
          <a:stretch/>
        </p:blipFill>
        <p:spPr>
          <a:xfrm>
            <a:off x="1236836" y="2289879"/>
            <a:ext cx="2560526" cy="1276568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A5DA5DBC-CAF0-B79D-2DB9-87EF9E0B5358}"/>
              </a:ext>
            </a:extLst>
          </p:cNvPr>
          <p:cNvSpPr txBox="1"/>
          <p:nvPr/>
        </p:nvSpPr>
        <p:spPr>
          <a:xfrm>
            <a:off x="594373" y="2801271"/>
            <a:ext cx="590209" cy="320040"/>
          </a:xfrm>
          <a:prstGeom prst="rect">
            <a:avLst/>
          </a:prstGeom>
          <a:solidFill>
            <a:srgbClr val="DC202E"/>
          </a:solidFill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HTF</a:t>
            </a:r>
            <a:endParaRPr kumimoji="0" lang="ko-KR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8092F48-C6C6-02BB-D66B-194DAB300573}"/>
              </a:ext>
            </a:extLst>
          </p:cNvPr>
          <p:cNvSpPr txBox="1"/>
          <p:nvPr/>
        </p:nvSpPr>
        <p:spPr>
          <a:xfrm>
            <a:off x="187308" y="945454"/>
            <a:ext cx="590209" cy="320040"/>
          </a:xfrm>
          <a:prstGeom prst="rect">
            <a:avLst/>
          </a:prstGeom>
          <a:solidFill>
            <a:srgbClr val="DC202E"/>
          </a:solidFill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TFE</a:t>
            </a:r>
            <a:endParaRPr kumimoji="0" lang="ko-KR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pic>
        <p:nvPicPr>
          <p:cNvPr id="45" name="Picture 44">
            <a:extLst>
              <a:ext uri="{FF2B5EF4-FFF2-40B4-BE49-F238E27FC236}">
                <a16:creationId xmlns:a16="http://schemas.microsoft.com/office/drawing/2014/main" id="{7DDF2DAC-E3DF-F9E7-A313-D0EACCFF4B4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690186" y="3726039"/>
            <a:ext cx="3462026" cy="2040123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46" name="Flowchart: Alternate Process 45">
            <a:extLst>
              <a:ext uri="{FF2B5EF4-FFF2-40B4-BE49-F238E27FC236}">
                <a16:creationId xmlns:a16="http://schemas.microsoft.com/office/drawing/2014/main" id="{1E120D77-DED1-D4C3-5B4A-171411F28B01}"/>
              </a:ext>
            </a:extLst>
          </p:cNvPr>
          <p:cNvSpPr/>
          <p:nvPr/>
        </p:nvSpPr>
        <p:spPr>
          <a:xfrm>
            <a:off x="2184371" y="2870599"/>
            <a:ext cx="1797358" cy="795785"/>
          </a:xfrm>
          <a:prstGeom prst="flowChartAlternateProcess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Past Event Data Used</a:t>
            </a:r>
          </a:p>
        </p:txBody>
      </p:sp>
      <p:sp>
        <p:nvSpPr>
          <p:cNvPr id="48" name="Arrow: Right 47">
            <a:extLst>
              <a:ext uri="{FF2B5EF4-FFF2-40B4-BE49-F238E27FC236}">
                <a16:creationId xmlns:a16="http://schemas.microsoft.com/office/drawing/2014/main" id="{0B48BC47-FF86-2EC2-E952-37874E613BDA}"/>
              </a:ext>
            </a:extLst>
          </p:cNvPr>
          <p:cNvSpPr/>
          <p:nvPr/>
        </p:nvSpPr>
        <p:spPr>
          <a:xfrm>
            <a:off x="4003772" y="3151920"/>
            <a:ext cx="539621" cy="302892"/>
          </a:xfrm>
          <a:prstGeom prst="rightArrow">
            <a:avLst>
              <a:gd name="adj1" fmla="val 50000"/>
              <a:gd name="adj2" fmla="val 50000"/>
            </a:avLst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 dirty="0" err="1">
              <a:solidFill>
                <a:schemeClr val="lt1">
                  <a:hueOff val="0"/>
                  <a:satOff val="0"/>
                  <a:lumOff val="0"/>
                  <a:alphaOff val="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1699970"/>
      </p:ext>
    </p:extLst>
  </p:cSld>
  <p:clrMapOvr>
    <a:masterClrMapping/>
  </p:clrMapOvr>
  <p:transition spd="slow">
    <p:cover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E5zQajOvoTWXTllZwrs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iBD_zRtehxq3.nt2gDA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1ZsHZybwBHB3NFGab2x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1ZsHZybwBHB3NFGab2x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1ZsHZybwBHB3NFGab2x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nLk4GKOP9sp5oC.qa7h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i0RIqnIpWd6O6m024ge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83vKPsfg2x2WCeucD36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oneywell 2019">
  <a:themeElements>
    <a:clrScheme name="Honeywell">
      <a:dk1>
        <a:sysClr val="windowText" lastClr="000000"/>
      </a:dk1>
      <a:lt1>
        <a:sysClr val="window" lastClr="FFFFFF"/>
      </a:lt1>
      <a:dk2>
        <a:srgbClr val="404040"/>
      </a:dk2>
      <a:lt2>
        <a:srgbClr val="E0E0E0"/>
      </a:lt2>
      <a:accent1>
        <a:srgbClr val="DC202E"/>
      </a:accent1>
      <a:accent2>
        <a:srgbClr val="404040"/>
      </a:accent2>
      <a:accent3>
        <a:srgbClr val="707070"/>
      </a:accent3>
      <a:accent4>
        <a:srgbClr val="A0A0A0"/>
      </a:accent4>
      <a:accent5>
        <a:srgbClr val="C0C0C0"/>
      </a:accent5>
      <a:accent6>
        <a:srgbClr val="E0E0E0"/>
      </a:accent6>
      <a:hlink>
        <a:srgbClr val="000000"/>
      </a:hlink>
      <a:folHlink>
        <a:srgbClr val="000000"/>
      </a:folHlink>
    </a:clrScheme>
    <a:fontScheme name="Honeywel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no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Honeywell_v14" id="{4C955DBE-6A6B-4404-A7FC-985F50DCB814}" vid="{9FCABB78-B434-4B7B-86A1-129067C79F96}"/>
    </a:ext>
  </a:extLst>
</a:theme>
</file>

<file path=ppt/theme/theme2.xml><?xml version="1.0" encoding="utf-8"?>
<a:theme xmlns:a="http://schemas.openxmlformats.org/drawingml/2006/main" name="1_Honeywell Template 2022">
  <a:themeElements>
    <a:clrScheme name="Honeywell 2019">
      <a:dk1>
        <a:sysClr val="windowText" lastClr="000000"/>
      </a:dk1>
      <a:lt1>
        <a:sysClr val="window" lastClr="FFFFFF"/>
      </a:lt1>
      <a:dk2>
        <a:srgbClr val="404040"/>
      </a:dk2>
      <a:lt2>
        <a:srgbClr val="E0E0E0"/>
      </a:lt2>
      <a:accent1>
        <a:srgbClr val="DC202E"/>
      </a:accent1>
      <a:accent2>
        <a:srgbClr val="404040"/>
      </a:accent2>
      <a:accent3>
        <a:srgbClr val="707070"/>
      </a:accent3>
      <a:accent4>
        <a:srgbClr val="A0A0A0"/>
      </a:accent4>
      <a:accent5>
        <a:srgbClr val="C0C0C0"/>
      </a:accent5>
      <a:accent6>
        <a:srgbClr val="E0E0E0"/>
      </a:accent6>
      <a:hlink>
        <a:srgbClr val="000000"/>
      </a:hlink>
      <a:folHlink>
        <a:srgbClr val="000000"/>
      </a:folHlink>
    </a:clrScheme>
    <a:fontScheme name="Honeywel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Honeywell PPT Template 16x9_2019 pptx (1)" id="{C13D7188-A151-414D-8989-4BEEEFF1DC5C}" vid="{71BD2F07-B865-488E-B5DA-A4FB8B5D2041}"/>
    </a:ext>
  </a:extLst>
</a:theme>
</file>

<file path=ppt/theme/theme3.xml><?xml version="1.0" encoding="utf-8"?>
<a:theme xmlns:a="http://schemas.openxmlformats.org/drawingml/2006/main" name="Office Theme">
  <a:themeElements>
    <a:clrScheme name="Honeywell">
      <a:dk1>
        <a:sysClr val="windowText" lastClr="000000"/>
      </a:dk1>
      <a:lt1>
        <a:sysClr val="window" lastClr="FFFFFF"/>
      </a:lt1>
      <a:dk2>
        <a:srgbClr val="404040"/>
      </a:dk2>
      <a:lt2>
        <a:srgbClr val="E0E0E0"/>
      </a:lt2>
      <a:accent1>
        <a:srgbClr val="DC202E"/>
      </a:accent1>
      <a:accent2>
        <a:srgbClr val="404040"/>
      </a:accent2>
      <a:accent3>
        <a:srgbClr val="707070"/>
      </a:accent3>
      <a:accent4>
        <a:srgbClr val="A0A0A0"/>
      </a:accent4>
      <a:accent5>
        <a:srgbClr val="C0C0C0"/>
      </a:accent5>
      <a:accent6>
        <a:srgbClr val="E0E0E0"/>
      </a:accent6>
      <a:hlink>
        <a:srgbClr val="000000"/>
      </a:hlink>
      <a:folHlink>
        <a:srgbClr val="000000"/>
      </a:folHlink>
    </a:clrScheme>
    <a:fontScheme name="Honeywel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Honeywell">
      <a:dk1>
        <a:sysClr val="windowText" lastClr="000000"/>
      </a:dk1>
      <a:lt1>
        <a:sysClr val="window" lastClr="FFFFFF"/>
      </a:lt1>
      <a:dk2>
        <a:srgbClr val="404040"/>
      </a:dk2>
      <a:lt2>
        <a:srgbClr val="E0E0E0"/>
      </a:lt2>
      <a:accent1>
        <a:srgbClr val="DC202E"/>
      </a:accent1>
      <a:accent2>
        <a:srgbClr val="404040"/>
      </a:accent2>
      <a:accent3>
        <a:srgbClr val="707070"/>
      </a:accent3>
      <a:accent4>
        <a:srgbClr val="A0A0A0"/>
      </a:accent4>
      <a:accent5>
        <a:srgbClr val="C0C0C0"/>
      </a:accent5>
      <a:accent6>
        <a:srgbClr val="E0E0E0"/>
      </a:accent6>
      <a:hlink>
        <a:srgbClr val="000000"/>
      </a:hlink>
      <a:folHlink>
        <a:srgbClr val="000000"/>
      </a:folHlink>
    </a:clrScheme>
    <a:fontScheme name="Honeywel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sisl xmlns:xsd="http://www.w3.org/2001/XMLSchema" xmlns:xsi="http://www.w3.org/2001/XMLSchema-instance" xmlns="http://www.boldonjames.com/2008/01/sie/internal/label" sislVersion="0" policy="bf276872-af07-4968-a71d-1c83e80bd0bf" origin="userSelected">
  <element uid="id_protectivemarking_newvalue1" value=""/>
</sisl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213af126-92eb-4bb5-8bfd-1661103a2928" xsi:nil="true"/>
    <lcf76f155ced4ddcb4097134ff3c332f xmlns="5c9ad062-aa00-492d-a75b-e00dca3b3d0f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234FE2A5FCB4A40879E88ECF8489FD4" ma:contentTypeVersion="16" ma:contentTypeDescription="Create a new document." ma:contentTypeScope="" ma:versionID="2d6054e718a6b3d49ddabad75901d3f1">
  <xsd:schema xmlns:xsd="http://www.w3.org/2001/XMLSchema" xmlns:xs="http://www.w3.org/2001/XMLSchema" xmlns:p="http://schemas.microsoft.com/office/2006/metadata/properties" xmlns:ns2="5c9ad062-aa00-492d-a75b-e00dca3b3d0f" xmlns:ns3="0dab3b79-5a11-4a79-9b08-3bd2d79ac80f" xmlns:ns4="213af126-92eb-4bb5-8bfd-1661103a2928" targetNamespace="http://schemas.microsoft.com/office/2006/metadata/properties" ma:root="true" ma:fieldsID="5b1465dfc66d7d380ed0c709667da3b6" ns2:_="" ns3:_="" ns4:_="">
    <xsd:import namespace="5c9ad062-aa00-492d-a75b-e00dca3b3d0f"/>
    <xsd:import namespace="0dab3b79-5a11-4a79-9b08-3bd2d79ac80f"/>
    <xsd:import namespace="213af126-92eb-4bb5-8bfd-1661103a292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LengthInSeconds" minOccurs="0"/>
                <xsd:element ref="ns2:MediaServiceObjectDetectorVersions" minOccurs="0"/>
                <xsd:element ref="ns2:lcf76f155ced4ddcb4097134ff3c332f" minOccurs="0"/>
                <xsd:element ref="ns4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c9ad062-aa00-492d-a75b-e00dca3b3d0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5" nillable="true" ma:displayName="Length (seconds)" ma:internalName="MediaLengthInSeconds" ma:readOnly="true">
      <xsd:simpleType>
        <xsd:restriction base="dms:Unknown"/>
      </xsd:simpleType>
    </xsd:element>
    <xsd:element name="MediaServiceObjectDetectorVersions" ma:index="16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8" nillable="true" ma:taxonomy="true" ma:internalName="lcf76f155ced4ddcb4097134ff3c332f" ma:taxonomyFieldName="MediaServiceImageTags" ma:displayName="Image Tags" ma:readOnly="false" ma:fieldId="{5cf76f15-5ced-4ddc-b409-7134ff3c332f}" ma:taxonomyMulti="true" ma:sspId="8bc46713-8fa2-488a-ac8b-ad618560c9d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dab3b79-5a11-4a79-9b08-3bd2d79ac80f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13af126-92eb-4bb5-8bfd-1661103a2928" elementFormDefault="qualified">
    <xsd:import namespace="http://schemas.microsoft.com/office/2006/documentManagement/types"/>
    <xsd:import namespace="http://schemas.microsoft.com/office/infopath/2007/PartnerControls"/>
    <xsd:element name="TaxCatchAll" ma:index="19" nillable="true" ma:displayName="Taxonomy Catch All Column" ma:hidden="true" ma:list="{cc8bf28e-e1e2-4321-b4d7-8a8cbe31736a}" ma:internalName="TaxCatchAll" ma:showField="CatchAllData" ma:web="0dab3b79-5a11-4a79-9b08-3bd2d79ac80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3FAF50E-B088-447D-BF9F-10ADC8CFA9AF}">
  <ds:schemaRefs>
    <ds:schemaRef ds:uri="http://www.boldonjames.com/2008/01/sie/internal/label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BD8308AD-929C-4AF1-934C-AD13F105D728}">
  <ds:schemaRefs>
    <ds:schemaRef ds:uri="http://schemas.microsoft.com/office/2006/documentManagement/types"/>
    <ds:schemaRef ds:uri="http://purl.org/dc/terms/"/>
    <ds:schemaRef ds:uri="http://purl.org/dc/dcmitype/"/>
    <ds:schemaRef ds:uri="http://schemas.openxmlformats.org/package/2006/metadata/core-properties"/>
    <ds:schemaRef ds:uri="8a863c0a-44ec-4433-990f-395b34694760"/>
    <ds:schemaRef ds:uri="http://www.w3.org/XML/1998/namespace"/>
    <ds:schemaRef ds:uri="8f2bf101-b43d-46e3-87ef-2376a732bd1e"/>
    <ds:schemaRef ds:uri="http://schemas.microsoft.com/office/2006/metadata/properties"/>
    <ds:schemaRef ds:uri="http://purl.org/dc/elements/1.1/"/>
    <ds:schemaRef ds:uri="http://schemas.microsoft.com/office/infopath/2007/PartnerControls"/>
    <ds:schemaRef ds:uri="213af126-92eb-4bb5-8bfd-1661103a2928"/>
    <ds:schemaRef ds:uri="5c9ad062-aa00-492d-a75b-e00dca3b3d0f"/>
  </ds:schemaRefs>
</ds:datastoreItem>
</file>

<file path=customXml/itemProps3.xml><?xml version="1.0" encoding="utf-8"?>
<ds:datastoreItem xmlns:ds="http://schemas.openxmlformats.org/officeDocument/2006/customXml" ds:itemID="{27E35801-90D2-48F4-AE9A-382E6BCFB9D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c9ad062-aa00-492d-a75b-e00dca3b3d0f"/>
    <ds:schemaRef ds:uri="0dab3b79-5a11-4a79-9b08-3bd2d79ac80f"/>
    <ds:schemaRef ds:uri="213af126-92eb-4bb5-8bfd-1661103a292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23A96D48-C214-4F88-BF4C-52E319A5EF21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d546e5e1-5d42-4630-bacd-c69bfdcbd5e8}" enabled="1" method="Privileged" siteId="{96ece526-9c7d-48b0-8daf-8b93c90a5d18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3351</TotalTime>
  <Words>444</Words>
  <Application>Microsoft Office PowerPoint</Application>
  <PresentationFormat>Widescreen</PresentationFormat>
  <Paragraphs>75</Paragraphs>
  <Slides>4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3" baseType="lpstr">
      <vt:lpstr>Arial</vt:lpstr>
      <vt:lpstr>Arial Black</vt:lpstr>
      <vt:lpstr>Calibri</vt:lpstr>
      <vt:lpstr>Courier New</vt:lpstr>
      <vt:lpstr>Honeywell Sans</vt:lpstr>
      <vt:lpstr>Wingdings</vt:lpstr>
      <vt:lpstr>Honeywell 2019</vt:lpstr>
      <vt:lpstr>1_Honeywell Template 2022</vt:lpstr>
      <vt:lpstr>think-cell Slide</vt:lpstr>
      <vt:lpstr>MSP Administration / Fly the Fleet   </vt:lpstr>
      <vt:lpstr>Msp automation and digitization Projects</vt:lpstr>
      <vt:lpstr>Case Management Tracking</vt:lpstr>
      <vt:lpstr>MSP Fly the Fleet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HANNEL PARTNER ADVISORY BOARD</dc:title>
  <dc:creator>Lara, Fabiola</dc:creator>
  <cp:lastModifiedBy>Solnitaru, Geanina</cp:lastModifiedBy>
  <cp:revision>2</cp:revision>
  <cp:lastPrinted>2023-09-27T19:08:29Z</cp:lastPrinted>
  <dcterms:created xsi:type="dcterms:W3CDTF">2021-04-12T22:43:04Z</dcterms:created>
  <dcterms:modified xsi:type="dcterms:W3CDTF">2025-04-14T08:52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d546e5e1-5d42-4630-bacd-c69bfdcbd5e8_Enabled">
    <vt:lpwstr>true</vt:lpwstr>
  </property>
  <property fmtid="{D5CDD505-2E9C-101B-9397-08002B2CF9AE}" pid="3" name="MSIP_Label_d546e5e1-5d42-4630-bacd-c69bfdcbd5e8_SetDate">
    <vt:lpwstr>2021-04-12T22:46:28Z</vt:lpwstr>
  </property>
  <property fmtid="{D5CDD505-2E9C-101B-9397-08002B2CF9AE}" pid="4" name="MSIP_Label_d546e5e1-5d42-4630-bacd-c69bfdcbd5e8_Method">
    <vt:lpwstr>Privileged</vt:lpwstr>
  </property>
  <property fmtid="{D5CDD505-2E9C-101B-9397-08002B2CF9AE}" pid="5" name="MSIP_Label_d546e5e1-5d42-4630-bacd-c69bfdcbd5e8_Name">
    <vt:lpwstr>d546e5e1-5d42-4630-bacd-c69bfdcbd5e8</vt:lpwstr>
  </property>
  <property fmtid="{D5CDD505-2E9C-101B-9397-08002B2CF9AE}" pid="6" name="MSIP_Label_d546e5e1-5d42-4630-bacd-c69bfdcbd5e8_SiteId">
    <vt:lpwstr>96ece526-9c7d-48b0-8daf-8b93c90a5d18</vt:lpwstr>
  </property>
  <property fmtid="{D5CDD505-2E9C-101B-9397-08002B2CF9AE}" pid="7" name="MSIP_Label_d546e5e1-5d42-4630-bacd-c69bfdcbd5e8_ActionId">
    <vt:lpwstr>f80ded93-4304-41be-95df-625d5ea5b456</vt:lpwstr>
  </property>
  <property fmtid="{D5CDD505-2E9C-101B-9397-08002B2CF9AE}" pid="8" name="MSIP_Label_d546e5e1-5d42-4630-bacd-c69bfdcbd5e8_ContentBits">
    <vt:lpwstr>0</vt:lpwstr>
  </property>
  <property fmtid="{D5CDD505-2E9C-101B-9397-08002B2CF9AE}" pid="9" name="SmartTag">
    <vt:lpwstr>4</vt:lpwstr>
  </property>
  <property fmtid="{D5CDD505-2E9C-101B-9397-08002B2CF9AE}" pid="10" name="ContentTypeId">
    <vt:lpwstr>0x0101000234FE2A5FCB4A40879E88ECF8489FD4</vt:lpwstr>
  </property>
  <property fmtid="{D5CDD505-2E9C-101B-9397-08002B2CF9AE}" pid="11" name="docIndexRef">
    <vt:lpwstr>86e652c9-97ee-4383-8d18-2bd01eece1a9</vt:lpwstr>
  </property>
  <property fmtid="{D5CDD505-2E9C-101B-9397-08002B2CF9AE}" pid="12" name="bjSaver">
    <vt:lpwstr>HG3Sb+bBQiDrNt4wR0dvBoxgeKoT3Umf</vt:lpwstr>
  </property>
  <property fmtid="{D5CDD505-2E9C-101B-9397-08002B2CF9AE}" pid="13" name="bjDocumentLabelXML">
    <vt:lpwstr>&lt;?xml version="1.0" encoding="us-ascii"?&gt;&lt;sisl xmlns:xsd="http://www.w3.org/2001/XMLSchema" xmlns:xsi="http://www.w3.org/2001/XMLSchema-instance" sislVersion="0" policy="bf276872-af07-4968-a71d-1c83e80bd0bf" origin="userSelected" xmlns="http://www.boldonj</vt:lpwstr>
  </property>
  <property fmtid="{D5CDD505-2E9C-101B-9397-08002B2CF9AE}" pid="14" name="bjDocumentLabelXML-0">
    <vt:lpwstr>ames.com/2008/01/sie/internal/label"&gt;&lt;element uid="id_protectivemarking_newvalue1" value="" /&gt;&lt;/sisl&gt;</vt:lpwstr>
  </property>
  <property fmtid="{D5CDD505-2E9C-101B-9397-08002B2CF9AE}" pid="15" name="bjDocumentSecurityLabel">
    <vt:lpwstr>Honeywell Unrestricted</vt:lpwstr>
  </property>
  <property fmtid="{D5CDD505-2E9C-101B-9397-08002B2CF9AE}" pid="16" name="BJClassification">
    <vt:lpwstr>Honeywell Unrestricted</vt:lpwstr>
  </property>
</Properties>
</file>